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7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9" r:id="rId2"/>
    <p:sldMasterId id="2147483734" r:id="rId3"/>
    <p:sldMasterId id="2147483828" r:id="rId4"/>
    <p:sldMasterId id="2147483868" r:id="rId5"/>
    <p:sldMasterId id="2147483769" r:id="rId6"/>
  </p:sldMasterIdLst>
  <p:notesMasterIdLst>
    <p:notesMasterId r:id="rId54"/>
  </p:notesMasterIdLst>
  <p:handoutMasterIdLst>
    <p:handoutMasterId r:id="rId55"/>
  </p:handoutMasterIdLst>
  <p:sldIdLst>
    <p:sldId id="256" r:id="rId7"/>
    <p:sldId id="2141414461" r:id="rId8"/>
    <p:sldId id="2141414464" r:id="rId9"/>
    <p:sldId id="2141414497" r:id="rId10"/>
    <p:sldId id="2141414498" r:id="rId11"/>
    <p:sldId id="2141414499" r:id="rId12"/>
    <p:sldId id="2141414500" r:id="rId13"/>
    <p:sldId id="2141414501" r:id="rId14"/>
    <p:sldId id="2141414505" r:id="rId15"/>
    <p:sldId id="2141414506" r:id="rId16"/>
    <p:sldId id="2141414507" r:id="rId17"/>
    <p:sldId id="2141414504" r:id="rId18"/>
    <p:sldId id="2141414510" r:id="rId19"/>
    <p:sldId id="2141414511" r:id="rId20"/>
    <p:sldId id="2141414512" r:id="rId21"/>
    <p:sldId id="2141414508" r:id="rId22"/>
    <p:sldId id="2141414515" r:id="rId23"/>
    <p:sldId id="2141414513" r:id="rId24"/>
    <p:sldId id="2141414516" r:id="rId25"/>
    <p:sldId id="2141414514" r:id="rId26"/>
    <p:sldId id="2141414517" r:id="rId27"/>
    <p:sldId id="2141414519" r:id="rId28"/>
    <p:sldId id="2141414518" r:id="rId29"/>
    <p:sldId id="2141414523" r:id="rId30"/>
    <p:sldId id="2141414525" r:id="rId31"/>
    <p:sldId id="2141414520" r:id="rId32"/>
    <p:sldId id="2141414526" r:id="rId33"/>
    <p:sldId id="2141414524" r:id="rId34"/>
    <p:sldId id="2141414521" r:id="rId35"/>
    <p:sldId id="2141414522" r:id="rId36"/>
    <p:sldId id="2141414527" r:id="rId37"/>
    <p:sldId id="2141414528" r:id="rId38"/>
    <p:sldId id="2141414529" r:id="rId39"/>
    <p:sldId id="2141414530" r:id="rId40"/>
    <p:sldId id="2141414531" r:id="rId41"/>
    <p:sldId id="2141414532" r:id="rId42"/>
    <p:sldId id="2141414535" r:id="rId43"/>
    <p:sldId id="2141414536" r:id="rId44"/>
    <p:sldId id="2141414533" r:id="rId45"/>
    <p:sldId id="2141414534" r:id="rId46"/>
    <p:sldId id="2141414538" r:id="rId47"/>
    <p:sldId id="2141414537" r:id="rId48"/>
    <p:sldId id="2141414539" r:id="rId49"/>
    <p:sldId id="2141414540" r:id="rId50"/>
    <p:sldId id="2141414541" r:id="rId51"/>
    <p:sldId id="2141414542" r:id="rId52"/>
    <p:sldId id="2141414543" r:id="rId53"/>
  </p:sldIdLst>
  <p:sldSz cx="12192000" cy="6858000"/>
  <p:notesSz cx="6858000" cy="9144000"/>
  <p:custDataLst>
    <p:tags r:id="rId5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+ Раздел по умолчанию" id="{19D70828-045B-4124-A422-AD52FA4F4F78}">
          <p14:sldIdLst>
            <p14:sldId id="256"/>
          </p14:sldIdLst>
        </p14:section>
        <p14:section name="Руководство" id="{81D3ADAB-7195-4BEB-8EFC-42EAB4F6F25E}">
          <p14:sldIdLst>
            <p14:sldId id="2141414461"/>
            <p14:sldId id="2141414464"/>
            <p14:sldId id="2141414497"/>
            <p14:sldId id="2141414498"/>
            <p14:sldId id="2141414499"/>
            <p14:sldId id="2141414500"/>
            <p14:sldId id="2141414501"/>
            <p14:sldId id="2141414505"/>
            <p14:sldId id="2141414506"/>
            <p14:sldId id="2141414507"/>
            <p14:sldId id="2141414504"/>
            <p14:sldId id="2141414510"/>
            <p14:sldId id="2141414511"/>
            <p14:sldId id="2141414512"/>
            <p14:sldId id="2141414508"/>
            <p14:sldId id="2141414515"/>
            <p14:sldId id="2141414513"/>
            <p14:sldId id="2141414516"/>
            <p14:sldId id="2141414514"/>
            <p14:sldId id="2141414517"/>
            <p14:sldId id="2141414519"/>
            <p14:sldId id="2141414518"/>
            <p14:sldId id="2141414523"/>
            <p14:sldId id="2141414525"/>
            <p14:sldId id="2141414520"/>
            <p14:sldId id="2141414526"/>
            <p14:sldId id="2141414524"/>
            <p14:sldId id="2141414521"/>
            <p14:sldId id="2141414522"/>
            <p14:sldId id="2141414527"/>
            <p14:sldId id="2141414528"/>
            <p14:sldId id="2141414529"/>
            <p14:sldId id="2141414530"/>
            <p14:sldId id="2141414531"/>
            <p14:sldId id="2141414532"/>
            <p14:sldId id="2141414535"/>
            <p14:sldId id="2141414536"/>
            <p14:sldId id="2141414533"/>
            <p14:sldId id="2141414534"/>
            <p14:sldId id="2141414538"/>
            <p14:sldId id="2141414537"/>
            <p14:sldId id="2141414539"/>
            <p14:sldId id="2141414540"/>
            <p14:sldId id="2141414541"/>
            <p14:sldId id="2141414542"/>
            <p14:sldId id="2141414543"/>
          </p14:sldIdLst>
        </p14:section>
      </p14:sectionLst>
    </p:ext>
    <p:ext uri="{EFAFB233-063F-42B5-8137-9DF3F51BA10A}">
      <p15:sldGuideLst xmlns:p15="http://schemas.microsoft.com/office/powerpoint/2012/main">
        <p15:guide id="1" pos="6085" userDrawn="1">
          <p15:clr>
            <a:srgbClr val="A4A3A4"/>
          </p15:clr>
        </p15:guide>
        <p15:guide id="2" pos="3591" userDrawn="1">
          <p15:clr>
            <a:srgbClr val="A4A3A4"/>
          </p15:clr>
        </p15:guide>
        <p15:guide id="3" pos="506" userDrawn="1">
          <p15:clr>
            <a:srgbClr val="A4A3A4"/>
          </p15:clr>
        </p15:guide>
        <p15:guide id="4" pos="892" userDrawn="1">
          <p15:clr>
            <a:srgbClr val="A4A3A4"/>
          </p15:clr>
        </p15:guide>
        <p15:guide id="5" orient="horz" pos="2228" userDrawn="1">
          <p15:clr>
            <a:srgbClr val="A4A3A4"/>
          </p15:clr>
        </p15:guide>
        <p15:guide id="6" orient="horz" pos="19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CDDE"/>
    <a:srgbClr val="D7CDF2"/>
    <a:srgbClr val="ACB9FA"/>
    <a:srgbClr val="BEC2F8"/>
    <a:srgbClr val="EBCDDB"/>
    <a:srgbClr val="798EFB"/>
    <a:srgbClr val="E6E5FD"/>
    <a:srgbClr val="DFDFDF"/>
    <a:srgbClr val="E2E2E2"/>
    <a:srgbClr val="CCC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98" autoAdjust="0"/>
    <p:restoredTop sz="95115" autoAdjust="0"/>
  </p:normalViewPr>
  <p:slideViewPr>
    <p:cSldViewPr snapToGrid="0" snapToObjects="1" showGuides="1">
      <p:cViewPr varScale="1">
        <p:scale>
          <a:sx n="122" d="100"/>
          <a:sy n="122" d="100"/>
        </p:scale>
        <p:origin x="352" y="192"/>
      </p:cViewPr>
      <p:guideLst>
        <p:guide pos="6085"/>
        <p:guide pos="3591"/>
        <p:guide pos="506"/>
        <p:guide pos="892"/>
        <p:guide orient="horz" pos="2228"/>
        <p:guide orient="horz" pos="19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 showGuides="1">
      <p:cViewPr varScale="1">
        <p:scale>
          <a:sx n="124" d="100"/>
          <a:sy n="124" d="100"/>
        </p:scale>
        <p:origin x="438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tags" Target="tags/tag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presProps" Target="presProp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46E4C57-596B-3181-855C-4FDBAB749E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37C6BF4-F539-F9B6-01D6-6D1C932567E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71AE8F-B46D-45E6-97C7-9B9409BF2B22}" type="datetimeFigureOut">
              <a:rPr lang="ru-RU" smtClean="0"/>
              <a:t>17.10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8104822-80CB-355E-3EC6-6A97C0D145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E7ED9F8-68B5-964C-127F-4102D7724B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BA626F-F305-421C-A759-1D9E6B84FC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790418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63B825-89C0-442D-8F37-EF69CE3A22AF}" type="datetimeFigureOut">
              <a:rPr lang="ru-RU" smtClean="0"/>
              <a:t>17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C92FF-04E5-4B5F-9093-D30107438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826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C92FF-04E5-4B5F-9093-D30107438CE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582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0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1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8422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53A469-F85F-40FE-A4E5-921D9078D9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MTS LOGO COVER.pdf" descr="MTS LOGO COVER.pdf">
            <a:extLst>
              <a:ext uri="{FF2B5EF4-FFF2-40B4-BE49-F238E27FC236}">
                <a16:creationId xmlns:a16="http://schemas.microsoft.com/office/drawing/2014/main" id="{6DA0FDCA-414D-5822-A411-BEF14DE8AC4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243499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ABFE79C-745A-47DB-88BF-67D1697CC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99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4ABFE79C-745A-47DB-88BF-67D1697CC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F017BC7-FA9D-4951-AF87-76DA4B31084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80E7EC6A-2011-60DE-6274-F3F65EF4E9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196793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63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B6A970A-F64F-446D-A80C-2C4D23AA7A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Текст 6">
            <a:extLst>
              <a:ext uri="{FF2B5EF4-FFF2-40B4-BE49-F238E27FC236}">
                <a16:creationId xmlns:a16="http://schemas.microsoft.com/office/drawing/2014/main" id="{A9E46C61-95AB-9FA2-2900-81D066CC37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78C421-FDCF-62A5-4BD7-5C5B5DBE5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8734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7683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F9C526E-FE9F-480D-A90F-141C17EB5E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564904"/>
            <a:ext cx="5545138" cy="374382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</a:t>
            </a:r>
          </a:p>
          <a:p>
            <a:pPr lvl="0"/>
            <a:r>
              <a:rPr lang="ru-RU" dirty="0"/>
              <a:t>О чем раздел</a:t>
            </a:r>
          </a:p>
        </p:txBody>
      </p:sp>
      <p:sp>
        <p:nvSpPr>
          <p:cNvPr id="5" name="Текст 6">
            <a:extLst>
              <a:ext uri="{FF2B5EF4-FFF2-40B4-BE49-F238E27FC236}">
                <a16:creationId xmlns:a16="http://schemas.microsoft.com/office/drawing/2014/main" id="{26B014F5-2FD7-D552-55AE-836330F17C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6D7AD3-7F4C-5ADE-5296-F1FEF7C2D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3760221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6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196A40F-9509-419D-B664-EA8AFE9178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814" y="5068846"/>
            <a:ext cx="8208912" cy="130889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, если пару пунктов</a:t>
            </a:r>
          </a:p>
          <a:p>
            <a:pPr lvl="0"/>
            <a:r>
              <a:rPr lang="ru-RU" dirty="0"/>
              <a:t>О чем раздел, если пару пунктов</a:t>
            </a:r>
          </a:p>
        </p:txBody>
      </p:sp>
      <p:sp>
        <p:nvSpPr>
          <p:cNvPr id="3" name="Текст 6">
            <a:extLst>
              <a:ext uri="{FF2B5EF4-FFF2-40B4-BE49-F238E27FC236}">
                <a16:creationId xmlns:a16="http://schemas.microsoft.com/office/drawing/2014/main" id="{C6CF6C73-A592-3439-415E-598E2A6AFF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9B47CA-19A4-8633-6EF1-9175904EA0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946975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Крупный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DF1A56A-82D7-430E-A128-79AA41916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704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BDF1A56A-82D7-430E-A128-79AA41916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62A712-A7C8-54D1-2110-61C9636E44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vert="horz" anchor="b"/>
          <a:lstStyle>
            <a:lvl1pPr algn="ctr">
              <a:defRPr sz="6000"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B0C13CC-C32E-C249-436B-789C0DFB6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32399"/>
          </a:xfrm>
        </p:spPr>
        <p:txBody>
          <a:bodyPr/>
          <a:lstStyle>
            <a:lvl1pPr marL="0" indent="0" algn="ctr">
              <a:buNone/>
              <a:defRPr sz="24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6997C46-00A6-D6D5-4CD2-EA4C9B08A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8459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3489F32-876D-4097-BCAB-81B2D3A61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576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04758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6AFEB76-A412-4B44-A148-E9360D331F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936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844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0065DEA-AF24-49EE-8AF4-40E7A8917C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988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723415D-902E-5E26-63C3-FB000A5D17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97721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4110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4749555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83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292611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52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F531A9B-BEAD-47E1-8218-931A9590BAF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F8D5B7DA-DAD6-02FE-225F-86131DD0D6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Текст 10">
            <a:extLst>
              <a:ext uri="{FF2B5EF4-FFF2-40B4-BE49-F238E27FC236}">
                <a16:creationId xmlns:a16="http://schemas.microsoft.com/office/drawing/2014/main" id="{7007FE74-46CC-40C2-B34A-1F4BF1411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AAE1B3E5-4BB6-4F87-AC6D-CB5E8324AF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2F96384-35DC-8C45-389F-32B50B3C06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970476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022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EC646F9-F516-79DF-21D9-93AD8090FB4D}"/>
              </a:ext>
            </a:extLst>
          </p:cNvPr>
          <p:cNvSpPr/>
          <p:nvPr userDrawn="1"/>
        </p:nvSpPr>
        <p:spPr>
          <a:xfrm>
            <a:off x="11423650" y="0"/>
            <a:ext cx="768350" cy="768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2" name="Group 1321315093.pdf" descr="Group 1321315093.pdf">
            <a:extLst>
              <a:ext uri="{FF2B5EF4-FFF2-40B4-BE49-F238E27FC236}">
                <a16:creationId xmlns:a16="http://schemas.microsoft.com/office/drawing/2014/main" id="{4A31C02F-CB5E-15FD-F798-046C1119EF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92852" b="87132"/>
          <a:stretch>
            <a:fillRect/>
          </a:stretch>
        </p:blipFill>
        <p:spPr>
          <a:xfrm>
            <a:off x="11314445" y="-927"/>
            <a:ext cx="877556" cy="88866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0D6D1FD-0A19-32F8-EA1D-0EEC88A5AF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F4196C7-B64E-4A6F-054A-143D3DA9C752}"/>
              </a:ext>
            </a:extLst>
          </p:cNvPr>
          <p:cNvSpPr/>
          <p:nvPr userDrawn="1"/>
        </p:nvSpPr>
        <p:spPr>
          <a:xfrm>
            <a:off x="3176" y="6469625"/>
            <a:ext cx="385200" cy="385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ru-RU" sz="1050" dirty="0">
              <a:solidFill>
                <a:schemeClr val="tx1"/>
              </a:solidFill>
              <a:ea typeface="MTS Text" panose="020B0306020102020303" pitchFamily="34" charset="0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2A2FBFB1-AA79-BE0C-634F-309AA0EA528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545" y="6472800"/>
            <a:ext cx="385200" cy="385200"/>
          </a:xfrm>
        </p:spPr>
        <p:txBody>
          <a:bodyPr anchor="ctr">
            <a:noAutofit/>
          </a:bodyPr>
          <a:lstStyle>
            <a:lvl1pPr marL="0" indent="0" algn="ctr">
              <a:buNone/>
              <a:defRPr sz="700"/>
            </a:lvl1pPr>
          </a:lstStyle>
          <a:p>
            <a:r>
              <a:rPr lang="ru-RU" dirty="0"/>
              <a:t>Лого</a:t>
            </a:r>
          </a:p>
        </p:txBody>
      </p:sp>
    </p:spTree>
    <p:extLst>
      <p:ext uri="{BB962C8B-B14F-4D97-AF65-F5344CB8AC3E}">
        <p14:creationId xmlns:p14="http://schemas.microsoft.com/office/powerpoint/2010/main" val="2227237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197">
          <p15:clr>
            <a:srgbClr val="FBAE40"/>
          </p15:clr>
        </p15:guide>
        <p15:guide id="3" orient="horz" pos="4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B4C4E88-6F36-4A30-99AB-5CAF0F9A5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59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B4C4E88-6F36-4A30-99AB-5CAF0F9A5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9F551AD5-7305-A1BB-74A4-26FA5E93A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6284E56-B062-296F-8C7A-B4D5F1C719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F527D69-5E63-8392-5107-938852381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3778615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0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56A18E5E-0FD6-419E-A863-C40D943C6EA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0864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7B69F084-725C-3EFB-A547-3FC823EB75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06035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Рисунок 8">
            <a:extLst>
              <a:ext uri="{FF2B5EF4-FFF2-40B4-BE49-F238E27FC236}">
                <a16:creationId xmlns:a16="http://schemas.microsoft.com/office/drawing/2014/main" id="{215E3ECD-5D54-89CE-89BF-DEAEF8DED18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61206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2" name="Рисунок 8">
            <a:extLst>
              <a:ext uri="{FF2B5EF4-FFF2-40B4-BE49-F238E27FC236}">
                <a16:creationId xmlns:a16="http://schemas.microsoft.com/office/drawing/2014/main" id="{C085E88D-4B42-51C3-4F61-674A01BB933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16377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3" name="Рисунок 8">
            <a:extLst>
              <a:ext uri="{FF2B5EF4-FFF2-40B4-BE49-F238E27FC236}">
                <a16:creationId xmlns:a16="http://schemas.microsoft.com/office/drawing/2014/main" id="{7DFCE57B-06D9-8C9C-B134-963EC12ED2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171548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Рисунок 8">
            <a:extLst>
              <a:ext uri="{FF2B5EF4-FFF2-40B4-BE49-F238E27FC236}">
                <a16:creationId xmlns:a16="http://schemas.microsoft.com/office/drawing/2014/main" id="{E5CDCE52-4C2C-D071-2E67-D14F2ACC93D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26719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5" name="Рисунок 8">
            <a:extLst>
              <a:ext uri="{FF2B5EF4-FFF2-40B4-BE49-F238E27FC236}">
                <a16:creationId xmlns:a16="http://schemas.microsoft.com/office/drawing/2014/main" id="{356B7B55-3EDE-3F3B-86D4-27A0D89D93F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81890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6" name="Рисунок 8">
            <a:extLst>
              <a:ext uri="{FF2B5EF4-FFF2-40B4-BE49-F238E27FC236}">
                <a16:creationId xmlns:a16="http://schemas.microsoft.com/office/drawing/2014/main" id="{2844796A-43D5-C810-8936-05E108D1B2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63706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D7526B73-F34B-D66E-8304-BE3357FA593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792232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45DBA1C6-BE1A-8724-392B-ACA1EC3F16B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94740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E0BE8D1-3983-276B-2BBE-6FA1D67AB1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50864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0" name="Рисунок 8">
            <a:extLst>
              <a:ext uri="{FF2B5EF4-FFF2-40B4-BE49-F238E27FC236}">
                <a16:creationId xmlns:a16="http://schemas.microsoft.com/office/drawing/2014/main" id="{BF2492F4-B812-50FF-B1F8-59999A34BA4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06035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FA14C00D-4148-32F6-6B16-AED695E297A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861206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Рисунок 8">
            <a:extLst>
              <a:ext uri="{FF2B5EF4-FFF2-40B4-BE49-F238E27FC236}">
                <a16:creationId xmlns:a16="http://schemas.microsoft.com/office/drawing/2014/main" id="{AFDD72D6-D4A3-2995-AB32-06D571BFAB0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016377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4BE46E9-BC32-689E-C9B4-9221877CB46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71548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Рисунок 8">
            <a:extLst>
              <a:ext uri="{FF2B5EF4-FFF2-40B4-BE49-F238E27FC236}">
                <a16:creationId xmlns:a16="http://schemas.microsoft.com/office/drawing/2014/main" id="{E00FA030-6C39-C06D-F42D-D08FDB80056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26719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5" name="Рисунок 8">
            <a:extLst>
              <a:ext uri="{FF2B5EF4-FFF2-40B4-BE49-F238E27FC236}">
                <a16:creationId xmlns:a16="http://schemas.microsoft.com/office/drawing/2014/main" id="{EBB6A202-4B6D-BEFB-7FF8-5624C075AAC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481890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D02E37FB-B1C6-2BC9-5BC4-A0FB541BC2B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63706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7" name="Рисунок 8">
            <a:extLst>
              <a:ext uri="{FF2B5EF4-FFF2-40B4-BE49-F238E27FC236}">
                <a16:creationId xmlns:a16="http://schemas.microsoft.com/office/drawing/2014/main" id="{48880384-7F33-854F-CA54-C6A0F3B0BB80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792232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8" name="Рисунок 8">
            <a:extLst>
              <a:ext uri="{FF2B5EF4-FFF2-40B4-BE49-F238E27FC236}">
                <a16:creationId xmlns:a16="http://schemas.microsoft.com/office/drawing/2014/main" id="{81970332-8D30-8044-5EC0-0A46FFA5E2A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094740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Рисунок 8">
            <a:extLst>
              <a:ext uri="{FF2B5EF4-FFF2-40B4-BE49-F238E27FC236}">
                <a16:creationId xmlns:a16="http://schemas.microsoft.com/office/drawing/2014/main" id="{5711F0F7-4A54-D68E-8779-A054C51BC0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0864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0" name="Рисунок 8">
            <a:extLst>
              <a:ext uri="{FF2B5EF4-FFF2-40B4-BE49-F238E27FC236}">
                <a16:creationId xmlns:a16="http://schemas.microsoft.com/office/drawing/2014/main" id="{DF819F02-97EC-4180-B209-1335EA892A3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706035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1" name="Рисунок 8">
            <a:extLst>
              <a:ext uri="{FF2B5EF4-FFF2-40B4-BE49-F238E27FC236}">
                <a16:creationId xmlns:a16="http://schemas.microsoft.com/office/drawing/2014/main" id="{4785946E-592A-74EC-EFAF-774DF8B1683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861206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2" name="Рисунок 8">
            <a:extLst>
              <a:ext uri="{FF2B5EF4-FFF2-40B4-BE49-F238E27FC236}">
                <a16:creationId xmlns:a16="http://schemas.microsoft.com/office/drawing/2014/main" id="{DF6EA332-4A5E-118B-0CEB-D17E1ABB07D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16377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3" name="Рисунок 8">
            <a:extLst>
              <a:ext uri="{FF2B5EF4-FFF2-40B4-BE49-F238E27FC236}">
                <a16:creationId xmlns:a16="http://schemas.microsoft.com/office/drawing/2014/main" id="{16E589B2-6D4E-1208-6CFA-3947005D914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5171548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4" name="Рисунок 8">
            <a:extLst>
              <a:ext uri="{FF2B5EF4-FFF2-40B4-BE49-F238E27FC236}">
                <a16:creationId xmlns:a16="http://schemas.microsoft.com/office/drawing/2014/main" id="{16649CC8-2265-F220-11FA-6CA515E820B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26719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5" name="Рисунок 8">
            <a:extLst>
              <a:ext uri="{FF2B5EF4-FFF2-40B4-BE49-F238E27FC236}">
                <a16:creationId xmlns:a16="http://schemas.microsoft.com/office/drawing/2014/main" id="{F64A3506-A4C3-DBE8-0A4C-FEFF7D2F412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481890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6" name="Рисунок 8">
            <a:extLst>
              <a:ext uri="{FF2B5EF4-FFF2-40B4-BE49-F238E27FC236}">
                <a16:creationId xmlns:a16="http://schemas.microsoft.com/office/drawing/2014/main" id="{35911DE0-7839-C2C1-C892-4DEB10E8063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3706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7" name="Рисунок 8">
            <a:extLst>
              <a:ext uri="{FF2B5EF4-FFF2-40B4-BE49-F238E27FC236}">
                <a16:creationId xmlns:a16="http://schemas.microsoft.com/office/drawing/2014/main" id="{540ED50B-7F84-E43C-4DAD-9EAFA9E6C00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792232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742E6AC-2802-0C88-97AC-EA4A4AE6EFF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94740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Рисунок 8">
            <a:extLst>
              <a:ext uri="{FF2B5EF4-FFF2-40B4-BE49-F238E27FC236}">
                <a16:creationId xmlns:a16="http://schemas.microsoft.com/office/drawing/2014/main" id="{A95552EE-5851-FEEE-04CE-930DD16CD1F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50864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0" name="Рисунок 8">
            <a:extLst>
              <a:ext uri="{FF2B5EF4-FFF2-40B4-BE49-F238E27FC236}">
                <a16:creationId xmlns:a16="http://schemas.microsoft.com/office/drawing/2014/main" id="{2121EBCE-F843-2A78-0407-1BF1D7F994B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706035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04C660C0-D3D1-CD13-0613-3197D2922751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61206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F843C80F-7739-CEEA-4BE8-0B28ADEC1480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016377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Рисунок 8">
            <a:extLst>
              <a:ext uri="{FF2B5EF4-FFF2-40B4-BE49-F238E27FC236}">
                <a16:creationId xmlns:a16="http://schemas.microsoft.com/office/drawing/2014/main" id="{0B069CDA-7743-2E81-29D9-89F29254B9A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71548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4" name="Рисунок 8">
            <a:extLst>
              <a:ext uri="{FF2B5EF4-FFF2-40B4-BE49-F238E27FC236}">
                <a16:creationId xmlns:a16="http://schemas.microsoft.com/office/drawing/2014/main" id="{E874E877-D398-E4EC-A6E6-FB6DEA6F256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326719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5" name="Рисунок 8">
            <a:extLst>
              <a:ext uri="{FF2B5EF4-FFF2-40B4-BE49-F238E27FC236}">
                <a16:creationId xmlns:a16="http://schemas.microsoft.com/office/drawing/2014/main" id="{1D0FA789-0864-A9F7-77A0-218F2106C0EB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481890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6" name="Рисунок 8">
            <a:extLst>
              <a:ext uri="{FF2B5EF4-FFF2-40B4-BE49-F238E27FC236}">
                <a16:creationId xmlns:a16="http://schemas.microsoft.com/office/drawing/2014/main" id="{8799DD51-DC58-3A07-67B0-62CB8B299777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63706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7" name="Рисунок 8">
            <a:extLst>
              <a:ext uri="{FF2B5EF4-FFF2-40B4-BE49-F238E27FC236}">
                <a16:creationId xmlns:a16="http://schemas.microsoft.com/office/drawing/2014/main" id="{49F47481-2E7A-386C-D44F-E60FF7F6569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792232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8" name="Рисунок 8">
            <a:extLst>
              <a:ext uri="{FF2B5EF4-FFF2-40B4-BE49-F238E27FC236}">
                <a16:creationId xmlns:a16="http://schemas.microsoft.com/office/drawing/2014/main" id="{4C89F8B1-0700-3C43-B931-67C9915BA66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94740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9" name="Рисунок 8">
            <a:extLst>
              <a:ext uri="{FF2B5EF4-FFF2-40B4-BE49-F238E27FC236}">
                <a16:creationId xmlns:a16="http://schemas.microsoft.com/office/drawing/2014/main" id="{BCC6F1CC-9527-90F1-7436-51A0B243D9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50864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0" name="Рисунок 8">
            <a:extLst>
              <a:ext uri="{FF2B5EF4-FFF2-40B4-BE49-F238E27FC236}">
                <a16:creationId xmlns:a16="http://schemas.microsoft.com/office/drawing/2014/main" id="{21F08A40-DF19-B75F-CBEA-E142BA5775D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706035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1" name="Рисунок 8">
            <a:extLst>
              <a:ext uri="{FF2B5EF4-FFF2-40B4-BE49-F238E27FC236}">
                <a16:creationId xmlns:a16="http://schemas.microsoft.com/office/drawing/2014/main" id="{6C8F04E1-9812-8FFD-D516-B622601DF0B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2861206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2" name="Рисунок 8">
            <a:extLst>
              <a:ext uri="{FF2B5EF4-FFF2-40B4-BE49-F238E27FC236}">
                <a16:creationId xmlns:a16="http://schemas.microsoft.com/office/drawing/2014/main" id="{BBF35FC6-F2F9-6F8F-E4F6-8BCE9FF5C10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4016377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3" name="Рисунок 8">
            <a:extLst>
              <a:ext uri="{FF2B5EF4-FFF2-40B4-BE49-F238E27FC236}">
                <a16:creationId xmlns:a16="http://schemas.microsoft.com/office/drawing/2014/main" id="{E71B395B-E93B-19F0-8734-97455073BBC1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5171548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4" name="Рисунок 8">
            <a:extLst>
              <a:ext uri="{FF2B5EF4-FFF2-40B4-BE49-F238E27FC236}">
                <a16:creationId xmlns:a16="http://schemas.microsoft.com/office/drawing/2014/main" id="{76125080-2116-E20A-392A-DA6ADF83C03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326719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5" name="Рисунок 8">
            <a:extLst>
              <a:ext uri="{FF2B5EF4-FFF2-40B4-BE49-F238E27FC236}">
                <a16:creationId xmlns:a16="http://schemas.microsoft.com/office/drawing/2014/main" id="{E78A0CFC-5804-1B41-A1D1-F11D2148CFF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7481890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6" name="Рисунок 8">
            <a:extLst>
              <a:ext uri="{FF2B5EF4-FFF2-40B4-BE49-F238E27FC236}">
                <a16:creationId xmlns:a16="http://schemas.microsoft.com/office/drawing/2014/main" id="{4914ACDE-09AC-0592-B93D-2168B42AFD53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63706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7" name="Рисунок 8">
            <a:extLst>
              <a:ext uri="{FF2B5EF4-FFF2-40B4-BE49-F238E27FC236}">
                <a16:creationId xmlns:a16="http://schemas.microsoft.com/office/drawing/2014/main" id="{BAB20F44-C56D-A440-AEDE-05EA55037203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9792232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8" name="Рисунок 8">
            <a:extLst>
              <a:ext uri="{FF2B5EF4-FFF2-40B4-BE49-F238E27FC236}">
                <a16:creationId xmlns:a16="http://schemas.microsoft.com/office/drawing/2014/main" id="{30EDA5B7-DAC0-82A3-23C4-41A46176763E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1094740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A5D169-4492-D166-F454-C3A5B842E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13120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0F4232-C5CC-4F52-9E24-8B536F2FA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3775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0F4232-C5CC-4F52-9E24-8B536F2FA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C3004332-BF40-28C4-CEE2-217AB5E6F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816A56C7-2BAF-A9C7-31B6-E9F44C22D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3850B4B-096A-CC9A-01F3-101796530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8F873079-BBFF-6CD9-2680-ED532E54D4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40760710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AA155FE3-F76D-4DB8-881D-4BB466FB10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0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AA155FE3-F76D-4DB8-881D-4BB466FB1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CE9575F8-D3F2-5CB4-33B5-CC46BC2A7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8B8FDF-8F34-A68A-821C-0620D31FC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58C8FA9-41F7-507B-03D1-688FDCF1E7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66E5CE28-8A75-2763-E74E-62642CA177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804121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209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Текст 12">
            <a:extLst>
              <a:ext uri="{FF2B5EF4-FFF2-40B4-BE49-F238E27FC236}">
                <a16:creationId xmlns:a16="http://schemas.microsoft.com/office/drawing/2014/main" id="{930C15B0-5B00-EA86-435B-36B78AD1DB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10514834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965EAAF-64FE-F5E3-5B17-72B408A37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781489C7-8682-2FD2-9A12-7E48BF024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2310631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073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6B0A8142-1CF9-E8F5-3CCB-CB74E84D0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3313013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35664B98-E51F-9206-9B96-D53C4950DC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3B1660D-3696-A939-420B-AC56878BF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096AFCD-76D5-EF95-6746-AEB69A0F95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9921922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два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6933A4DA-C5CE-4CF4-ADB2-DE7233D0B3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921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6933A4DA-C5CE-4CF4-ADB2-DE7233D0B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2B0DE820-88A7-CEAE-3F69-B47DAE5A46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3609" y="1340768"/>
            <a:ext cx="5181600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E5BA6D8-1CB3-31C3-5F71-3621BC9E32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9" y="1340768"/>
            <a:ext cx="5328593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1BFC48A6-3ABA-4FE5-657A-69CEB4533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A6A998-6E53-2952-D78D-C2B1CA0E9D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Текст 7">
            <a:extLst>
              <a:ext uri="{FF2B5EF4-FFF2-40B4-BE49-F238E27FC236}">
                <a16:creationId xmlns:a16="http://schemas.microsoft.com/office/drawing/2014/main" id="{F12C34A6-06F0-9CEE-141D-AC5ECBF48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5647919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 двух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F293292-EEE4-43B1-9505-50072A6C78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12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4F293292-EEE4-43B1-9505-50072A6C7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>
            <a:extLst>
              <a:ext uri="{FF2B5EF4-FFF2-40B4-BE49-F238E27FC236}">
                <a16:creationId xmlns:a16="http://schemas.microsoft.com/office/drawing/2014/main" id="{EE79FEBE-52BF-D6BF-1DDD-056FEE945B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851" y="1642561"/>
            <a:ext cx="5157787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7C0D5CD-D07F-6AFF-C3EF-9DA139D55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851" y="2348880"/>
            <a:ext cx="5157787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E19BB14-A24F-042E-0CDD-E56CA643FC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5999" y="1642561"/>
            <a:ext cx="5256585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9DCE083-8FE3-F11E-16D9-D4057973DF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5999" y="2348880"/>
            <a:ext cx="5256585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9496DDE1-387F-B754-0EB5-04FCCEDE0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1791D43-C976-3325-52F8-9D0FFA509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28AD4422-AEEE-678C-D47C-381DA2B864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551439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текст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04C0481B-85CF-4413-A333-37D3011E8B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535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04C0481B-85CF-4413-A333-37D3011E8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40FEB4-602F-2865-1EAE-45613191D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424" y="987425"/>
            <a:ext cx="3932237" cy="886397"/>
          </a:xfrm>
        </p:spPr>
        <p:txBody>
          <a:bodyPr vert="horz" anchor="t" anchorCtr="0"/>
          <a:lstStyle>
            <a:lvl1pPr>
              <a:defRPr sz="320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48709F0-6C0A-4083-B0CA-03D78AA9E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7BC215B-DC66-135F-AD80-BBBFA1809F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46890" y="2057400"/>
            <a:ext cx="3932237" cy="3803650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0823D931-9B08-208B-D75E-DC5BBEB1F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F5A89E52-681F-1CC6-97C9-6D8E7F136D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548954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758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1377852-C3C1-47A5-8B5C-6BD38F6795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01450D93-31D2-C863-4604-2722A13D594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Текст 10">
            <a:extLst>
              <a:ext uri="{FF2B5EF4-FFF2-40B4-BE49-F238E27FC236}">
                <a16:creationId xmlns:a16="http://schemas.microsoft.com/office/drawing/2014/main" id="{AB4F3C81-B4DC-4089-802A-0579700986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9CF77FD5-126E-48C8-9A20-070EBD2A5C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E9637F-D740-5D33-C3D9-5F4DD800E7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251EBFA0-C5D8-415E-B678-7252860C32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571940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358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9888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988800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D5AA2217-52EB-B183-042A-9D43F2C757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53412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83EE8C1D-542C-B1C0-7574-A51FB53BBF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53412" y="3668608"/>
            <a:ext cx="3987726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AC637E53-68EE-B512-E57B-86550550C0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53412" y="4074347"/>
            <a:ext cx="3987726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39144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59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B5501F4A-BA8C-0A0A-FAAA-AA7289B8BDB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71814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5E9A5BCA-5AE3-CF41-9E20-539EDD187B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592767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92767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2767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1814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1814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14617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81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2971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2972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5EA4B857-CE04-C5E5-A63E-54D8ABE75C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1496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92E10114-FD57-AAD9-B92D-DB73A3A7AD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2972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7B1204C4-2F0B-D607-56FA-BEFDE3BC35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2972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3E1E99DF-1938-ECD3-564C-6DF952587C6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6681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F2F23B11-09E1-ABFD-D4B1-9F71250191E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18156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26D05B8-2D0A-0BAF-1297-51FFFC7130D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18157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C8C430D2-6C95-82AD-920B-BB6AA031FFE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96681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8A74F97F-906E-D00D-C198-102A08CD4E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18157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AA91C5E4-8CE9-D7F2-0F7C-CE57D64224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18157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04829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552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497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61438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61380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1438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1438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61380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61380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1496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1497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661438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761380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61438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61438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5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61380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61380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572921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43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E0BE867-40FD-4A6C-BE25-93F1234296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13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106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4151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326951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326951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5499CB67-A844-A723-4CC5-6D12691C6B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6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22126040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4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6802716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08900B5-0B03-4CB3-B805-53526676A2D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8119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09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DC073D-D558-717C-BDBE-550608D30A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2068A8B-5B05-429A-B787-7B95F2CAC7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7533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574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D35659B-BD55-6060-EC44-DA8696FCF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Рисунок 5">
            <a:extLst>
              <a:ext uri="{FF2B5EF4-FFF2-40B4-BE49-F238E27FC236}">
                <a16:creationId xmlns:a16="http://schemas.microsoft.com/office/drawing/2014/main" id="{85742C2E-6152-185F-386B-9B1BB4D3D6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556F560-A4F3-4484-A09F-8FF9EB53628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0359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5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0"/>
            <a:ext cx="6095999" cy="406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4068000"/>
            <a:ext cx="6096000" cy="2790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4462022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0ED7E19-0C3A-8760-B7D4-5B55708E6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82CEC97-1390-465E-B300-FBD69298D1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0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3229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67CCEDC-31FC-495C-B8FA-B06C4D8D4B9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53D318-EF78-F70D-342D-1181C2BA93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4066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6400" y="2480310"/>
            <a:ext cx="5632000" cy="437769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055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625600" y="2480310"/>
            <a:ext cx="6566400" cy="43848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38063" y="2972435"/>
            <a:ext cx="3016667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E99CFE2-C403-B7D2-D500-EBA0F7B14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5912812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657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2045110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53F7643-8DE8-1F24-C29D-5883E3531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3653418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088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93F3130-361C-A8D4-2A78-44C7043B7E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266E8D3F-6601-D927-E87A-73FEBEF9B3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3176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A79607-0EAD-4D49-8C1A-0738D0E49D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679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64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387477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3874770"/>
            <a:ext cx="6096000" cy="298323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5590833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79A92B2-66EF-464F-100D-5FB69AEE07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920B5E5-CDC5-4EDA-94A8-280EFFC2F7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5925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5485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BA0B99DA-02EB-30A9-25F5-C17D2FCA11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2091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1005522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541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304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610584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610584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10584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4AD99438-2230-BC22-D018-BD2C1957974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820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6973668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ятиугольник 3"/>
          <p:cNvSpPr/>
          <p:nvPr userDrawn="1"/>
        </p:nvSpPr>
        <p:spPr>
          <a:xfrm>
            <a:off x="0" y="0"/>
            <a:ext cx="6095999" cy="6858000"/>
          </a:xfrm>
          <a:prstGeom prst="homePlate">
            <a:avLst>
              <a:gd name="adj" fmla="val 858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167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5784917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950900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12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6F3F73E-8F6D-43DB-8F4E-5196A095C1E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4108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20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18DC9F2-047B-444F-998B-D486DFD52F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674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38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Прямоугольник: скругленные верхние углы 3">
            <a:extLst>
              <a:ext uri="{FF2B5EF4-FFF2-40B4-BE49-F238E27FC236}">
                <a16:creationId xmlns:a16="http://schemas.microsoft.com/office/drawing/2014/main" id="{618E36A6-FAC5-3C31-57C2-B5989B91ED6E}"/>
              </a:ext>
            </a:extLst>
          </p:cNvPr>
          <p:cNvSpPr/>
          <p:nvPr userDrawn="1"/>
        </p:nvSpPr>
        <p:spPr>
          <a:xfrm rot="5400000">
            <a:off x="-223492" y="1987796"/>
            <a:ext cx="4544422" cy="4097439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: скругленные верхние углы 6">
            <a:extLst>
              <a:ext uri="{FF2B5EF4-FFF2-40B4-BE49-F238E27FC236}">
                <a16:creationId xmlns:a16="http://schemas.microsoft.com/office/drawing/2014/main" id="{EE64F387-3657-BDA2-2F0D-2C37E2CA0E95}"/>
              </a:ext>
            </a:extLst>
          </p:cNvPr>
          <p:cNvSpPr/>
          <p:nvPr userDrawn="1"/>
        </p:nvSpPr>
        <p:spPr>
          <a:xfrm rot="16200000">
            <a:off x="6266047" y="382774"/>
            <a:ext cx="4544422" cy="7307484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" name="Объект 10"/>
          <p:cNvSpPr>
            <a:spLocks noGrp="1"/>
          </p:cNvSpPr>
          <p:nvPr>
            <p:ph sz="quarter" idx="13"/>
          </p:nvPr>
        </p:nvSpPr>
        <p:spPr>
          <a:xfrm>
            <a:off x="550864" y="2068749"/>
            <a:ext cx="3139162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Объект 10"/>
          <p:cNvSpPr>
            <a:spLocks noGrp="1"/>
          </p:cNvSpPr>
          <p:nvPr>
            <p:ph sz="quarter" idx="14"/>
          </p:nvPr>
        </p:nvSpPr>
        <p:spPr>
          <a:xfrm>
            <a:off x="5369670" y="2068749"/>
            <a:ext cx="6271468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7366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45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0B31C9F-F2EF-4B25-94E9-C62E60BCB3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525A5CD-9E65-671A-B239-65E89FB61C7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97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19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8" name="Прямоугольник: скругленные верхние углы 7">
            <a:extLst>
              <a:ext uri="{FF2B5EF4-FFF2-40B4-BE49-F238E27FC236}">
                <a16:creationId xmlns:a16="http://schemas.microsoft.com/office/drawing/2014/main" id="{28D2F822-5107-4173-E667-1C3282618D53}"/>
              </a:ext>
            </a:extLst>
          </p:cNvPr>
          <p:cNvSpPr/>
          <p:nvPr userDrawn="1"/>
        </p:nvSpPr>
        <p:spPr>
          <a:xfrm>
            <a:off x="3469341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: скругленные углы 2">
            <a:extLst>
              <a:ext uri="{FF2B5EF4-FFF2-40B4-BE49-F238E27FC236}">
                <a16:creationId xmlns:a16="http://schemas.microsoft.com/office/drawing/2014/main" id="{12B2D3F0-D2BF-5464-FA44-624E90148F6A}"/>
              </a:ext>
            </a:extLst>
          </p:cNvPr>
          <p:cNvSpPr/>
          <p:nvPr userDrawn="1"/>
        </p:nvSpPr>
        <p:spPr>
          <a:xfrm>
            <a:off x="550863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555AAAF7-A6D0-DB21-D03A-EEC766A00AB7}"/>
              </a:ext>
            </a:extLst>
          </p:cNvPr>
          <p:cNvSpPr/>
          <p:nvPr userDrawn="1"/>
        </p:nvSpPr>
        <p:spPr>
          <a:xfrm>
            <a:off x="9346287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: скругленные углы 9">
            <a:extLst>
              <a:ext uri="{FF2B5EF4-FFF2-40B4-BE49-F238E27FC236}">
                <a16:creationId xmlns:a16="http://schemas.microsoft.com/office/drawing/2014/main" id="{059C65D0-CA7F-6EA4-52FE-837690DB529F}"/>
              </a:ext>
            </a:extLst>
          </p:cNvPr>
          <p:cNvSpPr/>
          <p:nvPr userDrawn="1"/>
        </p:nvSpPr>
        <p:spPr>
          <a:xfrm>
            <a:off x="6427809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2" name="Объект 10"/>
          <p:cNvSpPr>
            <a:spLocks noGrp="1"/>
          </p:cNvSpPr>
          <p:nvPr>
            <p:ph sz="quarter" idx="13"/>
          </p:nvPr>
        </p:nvSpPr>
        <p:spPr>
          <a:xfrm>
            <a:off x="771357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10"/>
          <p:cNvSpPr>
            <a:spLocks noGrp="1"/>
          </p:cNvSpPr>
          <p:nvPr>
            <p:ph sz="quarter" idx="14"/>
          </p:nvPr>
        </p:nvSpPr>
        <p:spPr>
          <a:xfrm>
            <a:off x="6667224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58807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 + цифр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63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B6A970A-F64F-446D-A80C-2C4D23AA7A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Текст 6">
            <a:extLst>
              <a:ext uri="{FF2B5EF4-FFF2-40B4-BE49-F238E27FC236}">
                <a16:creationId xmlns:a16="http://schemas.microsoft.com/office/drawing/2014/main" id="{A9E46C61-95AB-9FA2-2900-81D066CC37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78C421-FDCF-62A5-4BD7-5C5B5DBE5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3988973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315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-1" y="2014917"/>
            <a:ext cx="12119171" cy="40672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Скругленный прямоугольник 12">
            <a:extLst>
              <a:ext uri="{FF2B5EF4-FFF2-40B4-BE49-F238E27FC236}">
                <a16:creationId xmlns:a16="http://schemas.microsoft.com/office/drawing/2014/main" id="{E94EE1F0-A7DF-920C-97CC-ACD9D182C900}"/>
              </a:ext>
            </a:extLst>
          </p:cNvPr>
          <p:cNvSpPr/>
          <p:nvPr userDrawn="1"/>
        </p:nvSpPr>
        <p:spPr>
          <a:xfrm>
            <a:off x="3806963" y="2014917"/>
            <a:ext cx="8451546" cy="4067233"/>
          </a:xfrm>
          <a:prstGeom prst="roundRect">
            <a:avLst>
              <a:gd name="adj" fmla="val 38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A8FD023E-F7A0-4D9B-0916-6374DEF9866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44039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4"/>
          </p:nvPr>
        </p:nvSpPr>
        <p:spPr>
          <a:xfrm>
            <a:off x="554128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8"/>
          </p:nvPr>
        </p:nvSpPr>
        <p:spPr>
          <a:xfrm>
            <a:off x="4197583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7"/>
          <p:cNvSpPr>
            <a:spLocks noGrp="1"/>
          </p:cNvSpPr>
          <p:nvPr>
            <p:ph type="body" sz="quarter" idx="19"/>
          </p:nvPr>
        </p:nvSpPr>
        <p:spPr>
          <a:xfrm>
            <a:off x="4197583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03003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451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Рисунок 4">
            <a:extLst>
              <a:ext uri="{FF2B5EF4-FFF2-40B4-BE49-F238E27FC236}">
                <a16:creationId xmlns:a16="http://schemas.microsoft.com/office/drawing/2014/main" id="{179032DC-BB2D-E173-0CA6-E4C113D198A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53088" y="1144568"/>
            <a:ext cx="4968000" cy="4968000"/>
          </a:xfrm>
          <a:prstGeom prst="flowChartConnector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8"/>
          </p:nvPr>
        </p:nvSpPr>
        <p:spPr>
          <a:xfrm>
            <a:off x="554127" y="3213693"/>
            <a:ext cx="3547609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3666620"/>
            <a:ext cx="3547608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6999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142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648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7DA79E78-FB65-8BC2-01AF-7135C07AA9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26000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5EB44503-48E7-EBBC-4D23-35C39C18FA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26000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B0B19B72-3FCD-919D-9E24-E117416BA3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7245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968B52E-6D53-8470-24AC-8A478DFCAD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7245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B86D67CD-EA0D-8550-4A94-CC52174CCE4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926000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DB14E421-36E5-34A7-DE28-8E10C50FDED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293352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4275542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385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4828914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4828914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9108369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9108369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D2E7CE52-CD95-11EF-3F22-C005D025AC5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828914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B077C63A-3FED-40F3-3524-C4141C1CA24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10836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441962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694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92CAD89F-1325-FD5E-23E3-6B551754D5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30216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0DA1D766-D8D2-BD22-C8FA-B9BD380497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30216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E078BC54-3CE7-C7F2-3629-D917232862B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01784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2BADE5AB-548B-001F-7060-3178C77129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1784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0F080A40-E53A-2BD7-7237-F018925038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3352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55AD4BFB-47D3-81A8-952A-9D4C299004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73352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D038865D-4983-8AE1-025A-844C1B6DE4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5F9C20-C2A6-3185-6C1E-C17522F3FC6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30216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8701DD47-89D2-0D02-856E-6C3C233FD31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501784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A717163F-CFBF-6394-A169-D53F34F27152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73352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64802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547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3505534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05534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6453063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6453063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6" hasCustomPrompt="1"/>
          </p:nvPr>
        </p:nvSpPr>
        <p:spPr>
          <a:xfrm>
            <a:off x="9400592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0592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E70A6A35-24C8-011E-F86D-0F0A30896CE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3D9E6C2B-4703-13DD-4693-0CA33394C6D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05534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609CDE8D-439B-12F9-DA5B-64B84D0125A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453063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9" name="Рисунок 4">
            <a:extLst>
              <a:ext uri="{FF2B5EF4-FFF2-40B4-BE49-F238E27FC236}">
                <a16:creationId xmlns:a16="http://schemas.microsoft.com/office/drawing/2014/main" id="{552A0626-5A5D-0CD8-F4D9-9CE1DB96343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00592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351033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64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1671361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671363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>
            <a:extLst>
              <a:ext uri="{FF2B5EF4-FFF2-40B4-BE49-F238E27FC236}">
                <a16:creationId xmlns:a16="http://schemas.microsoft.com/office/drawing/2014/main" id="{64187EB2-89BC-AC20-787A-804DD62BEA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4488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698674CA-16B6-53B4-CC11-982E83E1D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94488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7C78AA08-5E63-4F0D-9E97-892A29D2B2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00637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6A4F4228-E287-8C8A-D26A-ADA8D78A54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00637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83E3A7D9-800A-1B40-D034-C4041E15E27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71363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2D3424BE-CF4D-68D9-C1D9-F05C61211E4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294488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22F2F895-5B75-65D3-B198-3905ED9C6446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900637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9" name="Текст 12">
            <a:extLst>
              <a:ext uri="{FF2B5EF4-FFF2-40B4-BE49-F238E27FC236}">
                <a16:creationId xmlns:a16="http://schemas.microsoft.com/office/drawing/2014/main" id="{4C598F25-6E84-3A0C-4C66-39D7C1B9B9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71361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55399ACA-8E95-9E11-75D3-F3D7D70A03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671363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668A6C6C-87A4-3FCB-C3B4-DA3A7D3FC8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4488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55FFFE45-5D3C-EE83-FE17-08E08CD40F7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94488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2410AF6-566C-6D25-0C2B-0449BBC56F3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900637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id="{9B58F766-3727-02AF-18DD-31B596F65B3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900637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EF49C97D-74BC-5C71-E942-A097797DF577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671363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3" name="Рисунок 4">
            <a:extLst>
              <a:ext uri="{FF2B5EF4-FFF2-40B4-BE49-F238E27FC236}">
                <a16:creationId xmlns:a16="http://schemas.microsoft.com/office/drawing/2014/main" id="{BEDEC89D-09EA-8D85-E6F1-2FD48DC5121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294488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4" name="Рисунок 4">
            <a:extLst>
              <a:ext uri="{FF2B5EF4-FFF2-40B4-BE49-F238E27FC236}">
                <a16:creationId xmlns:a16="http://schemas.microsoft.com/office/drawing/2014/main" id="{7C0E49EA-BB1C-000B-8C85-9C302B3B7014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900637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32766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247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0" y="0"/>
            <a:ext cx="12192000" cy="5624513"/>
            <a:chOff x="0" y="0"/>
            <a:chExt cx="12192000" cy="5624513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94EE0FA8-35F2-8E36-BE06-784A1AC20983}"/>
                </a:ext>
              </a:extLst>
            </p:cNvPr>
            <p:cNvSpPr/>
            <p:nvPr/>
          </p:nvSpPr>
          <p:spPr>
            <a:xfrm>
              <a:off x="0" y="0"/>
              <a:ext cx="12192000" cy="5013434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Равнобедренный треугольник 13">
              <a:extLst>
                <a:ext uri="{FF2B5EF4-FFF2-40B4-BE49-F238E27FC236}">
                  <a16:creationId xmlns:a16="http://schemas.microsoft.com/office/drawing/2014/main" id="{A5A77A20-764B-8932-FB01-BECC92790460}"/>
                </a:ext>
              </a:extLst>
            </p:cNvPr>
            <p:cNvSpPr/>
            <p:nvPr/>
          </p:nvSpPr>
          <p:spPr>
            <a:xfrm rot="10800000">
              <a:off x="1576551" y="5013433"/>
              <a:ext cx="758952" cy="611080"/>
            </a:xfrm>
            <a:prstGeom prst="triangle">
              <a:avLst>
                <a:gd name="adj" fmla="val 100000"/>
              </a:avLst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Заголовок 5">
            <a:extLst>
              <a:ext uri="{FF2B5EF4-FFF2-40B4-BE49-F238E27FC236}">
                <a16:creationId xmlns:a16="http://schemas.microsoft.com/office/drawing/2014/main" id="{54596656-A3DA-C630-F0CA-B05748EE9E53}"/>
              </a:ext>
            </a:extLst>
          </p:cNvPr>
          <p:cNvSpPr txBox="1">
            <a:spLocks/>
          </p:cNvSpPr>
          <p:nvPr userDrawn="1"/>
        </p:nvSpPr>
        <p:spPr>
          <a:xfrm>
            <a:off x="550863" y="6056091"/>
            <a:ext cx="10515600" cy="3323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400" dirty="0">
              <a:solidFill>
                <a:schemeClr val="accent1"/>
              </a:solidFill>
            </a:endParaRPr>
          </a:p>
        </p:txBody>
      </p:sp>
      <p:sp>
        <p:nvSpPr>
          <p:cNvPr id="9" name="Заголовок 5">
            <a:extLst>
              <a:ext uri="{FF2B5EF4-FFF2-40B4-BE49-F238E27FC236}">
                <a16:creationId xmlns:a16="http://schemas.microsoft.com/office/drawing/2014/main" id="{4E56C82F-35A5-1D80-6125-673C68CF8BF0}"/>
              </a:ext>
            </a:extLst>
          </p:cNvPr>
          <p:cNvSpPr txBox="1">
            <a:spLocks/>
          </p:cNvSpPr>
          <p:nvPr userDrawn="1"/>
        </p:nvSpPr>
        <p:spPr>
          <a:xfrm>
            <a:off x="519333" y="5929306"/>
            <a:ext cx="105156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0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6089788"/>
            <a:ext cx="7584733" cy="276999"/>
          </a:xfrm>
        </p:spPr>
        <p:txBody>
          <a:bodyPr/>
          <a:lstStyle>
            <a:lvl3pPr marL="0" indent="0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j-lt"/>
              </a:defRPr>
            </a:lvl3pPr>
          </a:lstStyle>
          <a:p>
            <a:pPr lvl="2"/>
            <a:r>
              <a:rPr lang="ru-RU" dirty="0"/>
              <a:t>Автор текст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19332" y="1606610"/>
            <a:ext cx="11121805" cy="3281288"/>
          </a:xfrm>
        </p:spPr>
        <p:txBody>
          <a:bodyPr anchor="b"/>
          <a:lstStyle>
            <a:lvl1pPr marL="0" indent="0">
              <a:buNone/>
              <a:defRPr sz="4800">
                <a:latin typeface="+mj-lt"/>
              </a:defRPr>
            </a:lvl1pPr>
          </a:lstStyle>
          <a:p>
            <a:pPr lvl="0"/>
            <a:r>
              <a:rPr lang="en-US" dirty="0"/>
              <a:t>“</a:t>
            </a:r>
            <a:r>
              <a:rPr lang="ru-RU" dirty="0"/>
              <a:t>Цитата</a:t>
            </a:r>
            <a:r>
              <a:rPr lang="en-US" dirty="0"/>
              <a:t>”</a:t>
            </a:r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189493-FC9E-582E-469A-F04A99CF09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15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03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8F277E3-34FD-4CFF-A3E7-D274ACA498C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C5997389-12A4-990F-5FBA-4C4431B787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5F479FF6-7FD2-A5F5-B193-EBF2A75AC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AF4556F-5D6F-A9AD-1F49-72722D6E5D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Рисунок 11">
            <a:extLst>
              <a:ext uri="{FF2B5EF4-FFF2-40B4-BE49-F238E27FC236}">
                <a16:creationId xmlns:a16="http://schemas.microsoft.com/office/drawing/2014/main" id="{04E7D84E-C127-D102-444F-89B3A7589EF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8320AFB-DCB1-59DA-2046-9F32EEDF7F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956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2">
            <a:extLst>
              <a:ext uri="{FF2B5EF4-FFF2-40B4-BE49-F238E27FC236}">
                <a16:creationId xmlns:a16="http://schemas.microsoft.com/office/drawing/2014/main" id="{FBCFDDA6-F3FF-CD31-67DA-111EC26E6D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176"/>
            <a:ext cx="12192000" cy="685482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aseline="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45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9E272486-E891-488D-2831-56318D6DCB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8906" y="5187998"/>
            <a:ext cx="4929050" cy="387798"/>
          </a:xfrm>
        </p:spPr>
        <p:txBody>
          <a:bodyPr anchor="ctr"/>
          <a:lstStyle>
            <a:lvl1pPr marL="0" indent="0" algn="l">
              <a:buNone/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«Цитата»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CC9A0D-27D3-4AD6-8C3E-1964FD4EC3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448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895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914310"/>
            <a:ext cx="6505257" cy="664797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Цитат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9F31E4-8247-0F1A-E6D5-720E6AEDAEEF}"/>
              </a:ext>
            </a:extLst>
          </p:cNvPr>
          <p:cNvSpPr txBox="1"/>
          <p:nvPr userDrawn="1"/>
        </p:nvSpPr>
        <p:spPr>
          <a:xfrm>
            <a:off x="371679" y="3176"/>
            <a:ext cx="1936428" cy="441659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sz="28700" dirty="0">
                <a:solidFill>
                  <a:srgbClr val="FF0000"/>
                </a:solidFill>
                <a:latin typeface="+mj-lt"/>
              </a:rPr>
              <a:t>“</a:t>
            </a:r>
            <a:endParaRPr lang="ru-RU" sz="28700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9917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49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7ED5D45-D6B3-4717-9743-1ABAED0ADAE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9974853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5869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53D2D1-200D-4B78-93DF-9EA2AF6688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0908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3242681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26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1AD2430-C042-4F4D-B782-D425F4711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9107852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746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1DAABAE-22F4-4CAF-8588-7056C5D155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2AD7A46-6862-360C-6D26-D75F7DE6940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58328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805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492E1A6-25EE-448B-846F-C3F81CCA26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40863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24EB91C-02D4-39BD-4057-204967DDBB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1338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 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9031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E91C715-F72D-4E42-8206-E1B8CC4AD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C7F96DB-0DDA-054C-1AE8-66B51F1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452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54DD62C-953D-4C0F-06CA-95413777555E}"/>
              </a:ext>
            </a:extLst>
          </p:cNvPr>
          <p:cNvSpPr/>
          <p:nvPr userDrawn="1"/>
        </p:nvSpPr>
        <p:spPr>
          <a:xfrm>
            <a:off x="3176" y="0"/>
            <a:ext cx="12188823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085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E0D512-C4DC-22E6-956F-9B5C0B5DAF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546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B0C30AF3-9056-491C-B9BB-100F1D217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96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B0C30AF3-9056-491C-B9BB-100F1D217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9BC7A9A-59C9-4796-B68A-F134F70AED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19B1036-38C4-D94C-C5D6-C283EDD180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60799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D50984E-FD40-47B6-A392-32BA50772B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67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D50984E-FD40-47B6-A392-32BA50772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AC07A36-375A-4798-B506-C3BA7E57DFA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Текст 6">
            <a:extLst>
              <a:ext uri="{FF2B5EF4-FFF2-40B4-BE49-F238E27FC236}">
                <a16:creationId xmlns:a16="http://schemas.microsoft.com/office/drawing/2014/main" id="{C34303E7-9CBE-9046-F56A-7D1790C4FB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48680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542EEB2-9234-2492-9628-371C869012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602268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41" Type="http://schemas.openxmlformats.org/officeDocument/2006/relationships/oleObject" Target="../embeddings/oleObject16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6.xml"/><Relationship Id="rId10" Type="http://schemas.openxmlformats.org/officeDocument/2006/relationships/oleObject" Target="../embeddings/oleObject54.bin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oleObject" Target="../embeddings/oleObject62.bin"/><Relationship Id="rId5" Type="http://schemas.openxmlformats.org/officeDocument/2006/relationships/tags" Target="../tags/tag64.xml"/><Relationship Id="rId4" Type="http://schemas.openxmlformats.org/officeDocument/2006/relationships/theme" Target="../theme/theme5.xml"/><Relationship Id="rId9" Type="http://schemas.openxmlformats.org/officeDocument/2006/relationships/image" Target="../media/image3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slideLayout" Target="../slideLayouts/slideLayout64.xml"/><Relationship Id="rId7" Type="http://schemas.openxmlformats.org/officeDocument/2006/relationships/theme" Target="../theme/theme6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5.xml"/><Relationship Id="rId9" Type="http://schemas.openxmlformats.org/officeDocument/2006/relationships/oleObject" Target="../embeddings/oleObject6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23984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64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2" r:id="rId2"/>
    <p:sldLayoutId id="2147483691" r:id="rId3"/>
    <p:sldLayoutId id="2147483693" r:id="rId4"/>
    <p:sldLayoutId id="2147483705" r:id="rId5"/>
    <p:sldLayoutId id="2147483706" r:id="rId6"/>
    <p:sldLayoutId id="214748370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pos="7333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66335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425" imgH="424" progId="TCLayout.ActiveDocument.1">
                  <p:embed/>
                </p:oleObj>
              </mc:Choice>
              <mc:Fallback>
                <p:oleObj name="Слайд think-cell" r:id="rId9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84B6870-FD1D-426B-98FF-516F703E218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7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22741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1" imgW="425" imgH="424" progId="TCLayout.ActiveDocument.1">
                  <p:embed/>
                </p:oleObj>
              </mc:Choice>
              <mc:Fallback>
                <p:oleObj name="Слайд think-cell" r:id="rId41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07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825" r:id="rId3"/>
    <p:sldLayoutId id="2147483827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3" r:id="rId10"/>
    <p:sldLayoutId id="2147483762" r:id="rId11"/>
    <p:sldLayoutId id="2147483765" r:id="rId12"/>
    <p:sldLayoutId id="2147483764" r:id="rId13"/>
    <p:sldLayoutId id="2147483766" r:id="rId14"/>
    <p:sldLayoutId id="2147483767" r:id="rId15"/>
    <p:sldLayoutId id="2147483768" r:id="rId16"/>
    <p:sldLayoutId id="2147483812" r:id="rId17"/>
    <p:sldLayoutId id="2147483813" r:id="rId18"/>
    <p:sldLayoutId id="2147483814" r:id="rId19"/>
    <p:sldLayoutId id="2147483815" r:id="rId20"/>
    <p:sldLayoutId id="2147483796" r:id="rId21"/>
    <p:sldLayoutId id="2147483797" r:id="rId22"/>
    <p:sldLayoutId id="2147483801" r:id="rId23"/>
    <p:sldLayoutId id="2147483806" r:id="rId24"/>
    <p:sldLayoutId id="2147483805" r:id="rId25"/>
    <p:sldLayoutId id="2147483804" r:id="rId26"/>
    <p:sldLayoutId id="2147483808" r:id="rId27"/>
    <p:sldLayoutId id="2147483807" r:id="rId28"/>
    <p:sldLayoutId id="2147483803" r:id="rId29"/>
    <p:sldLayoutId id="2147483802" r:id="rId30"/>
    <p:sldLayoutId id="2147483798" r:id="rId31"/>
    <p:sldLayoutId id="2147483799" r:id="rId32"/>
    <p:sldLayoutId id="2147483816" r:id="rId33"/>
    <p:sldLayoutId id="2147483817" r:id="rId34"/>
    <p:sldLayoutId id="2147483818" r:id="rId35"/>
    <p:sldLayoutId id="2147483819" r:id="rId36"/>
    <p:sldLayoutId id="2147483820" r:id="rId37"/>
    <p:sldLayoutId id="2147483916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52567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502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3199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425" imgH="424" progId="TCLayout.ActiveDocument.1">
                  <p:embed/>
                </p:oleObj>
              </mc:Choice>
              <mc:Fallback>
                <p:oleObj name="Слайд think-cell" r:id="rId6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6947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425" imgH="424" progId="TCLayout.ActiveDocument.1">
                  <p:embed/>
                </p:oleObj>
              </mc:Choice>
              <mc:Fallback>
                <p:oleObj name="Слайд think-cell" r:id="rId9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20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2.sv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738BC0A-1F75-4387-9619-F27FD1FAAD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84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2B3C41-B740-075A-299D-CB4188AE1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014" y="5113587"/>
            <a:ext cx="5827986" cy="1384995"/>
          </a:xfrm>
        </p:spPr>
        <p:txBody>
          <a:bodyPr vert="horz"/>
          <a:lstStyle/>
          <a:p>
            <a:r>
              <a:rPr lang="ru-RU" sz="5000" dirty="0">
                <a:solidFill>
                  <a:schemeClr val="bg1"/>
                </a:solidFill>
              </a:rPr>
              <a:t>Поколение-М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D3C6D6B-3F26-338B-ACFB-E50B7AB5AC8A}"/>
              </a:ext>
            </a:extLst>
          </p:cNvPr>
          <p:cNvSpPr txBox="1">
            <a:spLocks/>
          </p:cNvSpPr>
          <p:nvPr/>
        </p:nvSpPr>
        <p:spPr>
          <a:xfrm>
            <a:off x="7529813" y="4891988"/>
            <a:ext cx="3527070" cy="160659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r>
              <a:rPr lang="ru-RU" sz="2200" b="1" dirty="0"/>
              <a:t>Команда</a:t>
            </a:r>
            <a:r>
              <a:rPr lang="ru-RU" sz="2200" dirty="0"/>
              <a:t>: </a:t>
            </a:r>
            <a:r>
              <a:rPr lang="en-US" sz="2200" dirty="0" err="1"/>
              <a:t>cupofale</a:t>
            </a:r>
            <a:endParaRPr lang="en-US" sz="2200" dirty="0"/>
          </a:p>
          <a:p>
            <a:r>
              <a:rPr lang="ru-RU" sz="2200" b="1" dirty="0"/>
              <a:t>Участники</a:t>
            </a:r>
            <a:r>
              <a:rPr lang="ru-RU" sz="22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Алябьев Его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Карпов Иль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Сысков Вячесла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Юсупов Егор</a:t>
            </a:r>
          </a:p>
        </p:txBody>
      </p:sp>
    </p:spTree>
    <p:extLst>
      <p:ext uri="{BB962C8B-B14F-4D97-AF65-F5344CB8AC3E}">
        <p14:creationId xmlns:p14="http://schemas.microsoft.com/office/powerpoint/2010/main" val="24328802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4">
            <a:extLst>
              <a:ext uri="{FF2B5EF4-FFF2-40B4-BE49-F238E27FC236}">
                <a16:creationId xmlns:a16="http://schemas.microsoft.com/office/drawing/2014/main" id="{F227CE85-F4AD-367D-B4AE-21259DA53F0E}"/>
              </a:ext>
            </a:extLst>
          </p:cNvPr>
          <p:cNvSpPr txBox="1">
            <a:spLocks/>
          </p:cNvSpPr>
          <p:nvPr/>
        </p:nvSpPr>
        <p:spPr>
          <a:xfrm>
            <a:off x="4456387" y="503531"/>
            <a:ext cx="4056434" cy="903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Персонал</a:t>
            </a:r>
          </a:p>
          <a:p>
            <a:endParaRPr lang="ru-RU" sz="2800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5BCCAEB5-DEF6-2E2F-7473-0CF956977E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1496" y="3668608"/>
            <a:ext cx="3037738" cy="626838"/>
          </a:xfrm>
        </p:spPr>
        <p:txBody>
          <a:bodyPr/>
          <a:lstStyle/>
          <a:p>
            <a:r>
              <a:rPr lang="ru-RU" dirty="0"/>
              <a:t>Администратор</a:t>
            </a:r>
          </a:p>
          <a:p>
            <a:endParaRPr lang="ru-RU" dirty="0"/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A4FF86F1-4815-48EB-4CF5-1C5DB12F22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3" y="4074347"/>
            <a:ext cx="3579126" cy="122597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правляет пользователя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правляет учебными материал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правляет организацией курсов/уроков</a:t>
            </a:r>
          </a:p>
        </p:txBody>
      </p:sp>
      <p:sp>
        <p:nvSpPr>
          <p:cNvPr id="21" name="Текст 10">
            <a:extLst>
              <a:ext uri="{FF2B5EF4-FFF2-40B4-BE49-F238E27FC236}">
                <a16:creationId xmlns:a16="http://schemas.microsoft.com/office/drawing/2014/main" id="{7BC73F1F-D8AE-6FC7-F471-83B29D0B41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71814" y="3668608"/>
            <a:ext cx="3579128" cy="626838"/>
          </a:xfrm>
        </p:spPr>
        <p:txBody>
          <a:bodyPr/>
          <a:lstStyle/>
          <a:p>
            <a:r>
              <a:rPr lang="ru-RU" dirty="0"/>
              <a:t>Сотрудники Поддержки</a:t>
            </a:r>
          </a:p>
          <a:p>
            <a:endParaRPr lang="ru-RU" dirty="0"/>
          </a:p>
        </p:txBody>
      </p:sp>
      <p:sp>
        <p:nvSpPr>
          <p:cNvPr id="22" name="Текст 11">
            <a:extLst>
              <a:ext uri="{FF2B5EF4-FFF2-40B4-BE49-F238E27FC236}">
                <a16:creationId xmlns:a16="http://schemas.microsoft.com/office/drawing/2014/main" id="{7161BEAD-05AC-CBE1-32B3-3F6DB38E688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1814" y="4074347"/>
            <a:ext cx="3048371" cy="3877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Обеспечивает техническую поддержку пользователей</a:t>
            </a:r>
            <a:endParaRPr lang="ru-RU" dirty="0"/>
          </a:p>
        </p:txBody>
      </p:sp>
      <p:pic>
        <p:nvPicPr>
          <p:cNvPr id="23" name="Рисунок 22" descr="Настройки, инструменты">
            <a:extLst>
              <a:ext uri="{FF2B5EF4-FFF2-40B4-BE49-F238E27FC236}">
                <a16:creationId xmlns:a16="http://schemas.microsoft.com/office/drawing/2014/main" id="{91FB6FD0-3B54-D17E-4C70-9F6B781B715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561496" y="1832087"/>
            <a:ext cx="1596913" cy="1596913"/>
          </a:xfrm>
        </p:spPr>
      </p:pic>
      <p:pic>
        <p:nvPicPr>
          <p:cNvPr id="26" name="Рисунок 25" descr="Документ, договор, отчет, новые документы, добавление">
            <a:extLst>
              <a:ext uri="{FF2B5EF4-FFF2-40B4-BE49-F238E27FC236}">
                <a16:creationId xmlns:a16="http://schemas.microsoft.com/office/drawing/2014/main" id="{A31FD2CB-7D4B-9D2B-A027-5C3DBF75826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571814" y="1832087"/>
            <a:ext cx="1596913" cy="1596913"/>
          </a:xfrm>
        </p:spPr>
      </p:pic>
      <p:sp>
        <p:nvSpPr>
          <p:cNvPr id="37" name="Текст 27">
            <a:extLst>
              <a:ext uri="{FF2B5EF4-FFF2-40B4-BE49-F238E27FC236}">
                <a16:creationId xmlns:a16="http://schemas.microsoft.com/office/drawing/2014/main" id="{F5445E1D-1BDB-A90D-6940-2E87AD33AA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92767" y="3668608"/>
            <a:ext cx="3037738" cy="249299"/>
          </a:xfrm>
        </p:spPr>
        <p:txBody>
          <a:bodyPr/>
          <a:lstStyle/>
          <a:p>
            <a:r>
              <a:rPr lang="ru-RU" dirty="0"/>
              <a:t>Преподаватель</a:t>
            </a:r>
          </a:p>
        </p:txBody>
      </p:sp>
      <p:sp>
        <p:nvSpPr>
          <p:cNvPr id="38" name="Текст 28">
            <a:extLst>
              <a:ext uri="{FF2B5EF4-FFF2-40B4-BE49-F238E27FC236}">
                <a16:creationId xmlns:a16="http://schemas.microsoft.com/office/drawing/2014/main" id="{7EA91C26-DCEB-1B00-C61E-70AE17EAC2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943" y="4074347"/>
            <a:ext cx="3841360" cy="122597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Проверяет дипломные/зачетные рабо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Оценивает рабо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Участвует/проводит онлайн-активности</a:t>
            </a:r>
            <a:endParaRPr lang="ru-RU" dirty="0"/>
          </a:p>
        </p:txBody>
      </p:sp>
      <p:pic>
        <p:nvPicPr>
          <p:cNvPr id="39" name="Рисунок 38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B2F02C28-4C13-5722-0E80-1D12523D1DB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>
            <a:off x="8592767" y="1832087"/>
            <a:ext cx="1596913" cy="1596913"/>
          </a:xfrm>
        </p:spPr>
      </p:pic>
    </p:spTree>
    <p:extLst>
      <p:ext uri="{BB962C8B-B14F-4D97-AF65-F5344CB8AC3E}">
        <p14:creationId xmlns:p14="http://schemas.microsoft.com/office/powerpoint/2010/main" val="3676596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5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Системные требования: Функциональные требования</a:t>
            </a:r>
          </a:p>
        </p:txBody>
      </p:sp>
    </p:spTree>
    <p:extLst>
      <p:ext uri="{BB962C8B-B14F-4D97-AF65-F5344CB8AC3E}">
        <p14:creationId xmlns:p14="http://schemas.microsoft.com/office/powerpoint/2010/main" val="4173911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Настройки, инструменты">
            <a:extLst>
              <a:ext uri="{FF2B5EF4-FFF2-40B4-BE49-F238E27FC236}">
                <a16:creationId xmlns:a16="http://schemas.microsoft.com/office/drawing/2014/main" id="{0B59FEA4-8617-C33E-32BE-2D32F7CFBA6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6123" y="150433"/>
            <a:ext cx="1596913" cy="1596913"/>
          </a:xfrm>
        </p:spPr>
      </p:pic>
      <p:sp>
        <p:nvSpPr>
          <p:cNvPr id="15" name="Текст 23">
            <a:extLst>
              <a:ext uri="{FF2B5EF4-FFF2-40B4-BE49-F238E27FC236}">
                <a16:creationId xmlns:a16="http://schemas.microsoft.com/office/drawing/2014/main" id="{2B3D507C-45B5-EAD9-53B1-643E4AB3F28D}"/>
              </a:ext>
            </a:extLst>
          </p:cNvPr>
          <p:cNvSpPr txBox="1">
            <a:spLocks/>
          </p:cNvSpPr>
          <p:nvPr/>
        </p:nvSpPr>
        <p:spPr>
          <a:xfrm>
            <a:off x="2296510" y="948889"/>
            <a:ext cx="7598979" cy="50290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Система должна позволять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управлять образовательным контент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устраивать онлайн-активности (воркшопы, лекции, прослушивания и </a:t>
            </a:r>
            <a:r>
              <a:rPr lang="ru-RU" sz="1800" b="0" dirty="0" err="1">
                <a:effectLst/>
              </a:rPr>
              <a:t>тп</a:t>
            </a:r>
            <a:r>
              <a:rPr lang="ru-RU" sz="1800" b="0" dirty="0">
                <a:effectLst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ценить и проверить зн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автоматизировать проверку домашних зада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поддержать ручную проверку рабо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ть прогресс обучения (в том числе в ходе урок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выдавать сертификаты по окончании обуч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управлять пользователями (назначением роле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беспечить миграцию данных из старой систе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...</a:t>
            </a:r>
          </a:p>
          <a:p>
            <a:r>
              <a:rPr lang="ru-RU" sz="1800" b="0" dirty="0">
                <a:effectLst/>
              </a:rPr>
              <a:t>... всего порядка 50 требований, которые нам удалось выделить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800" b="0" dirty="0">
              <a:effectLst/>
            </a:endParaRPr>
          </a:p>
        </p:txBody>
      </p:sp>
      <p:pic>
        <p:nvPicPr>
          <p:cNvPr id="16" name="Рисунок 15" descr="Описание">
            <a:extLst>
              <a:ext uri="{FF2B5EF4-FFF2-40B4-BE49-F238E27FC236}">
                <a16:creationId xmlns:a16="http://schemas.microsoft.com/office/drawing/2014/main" id="{AB16122A-8C47-1609-F0FC-9F8D6723E01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17367" y="5260862"/>
            <a:ext cx="1296286" cy="129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9787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6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Системные требования: Нефункциональные требования</a:t>
            </a:r>
          </a:p>
        </p:txBody>
      </p:sp>
    </p:spTree>
    <p:extLst>
      <p:ext uri="{BB962C8B-B14F-4D97-AF65-F5344CB8AC3E}">
        <p14:creationId xmlns:p14="http://schemas.microsoft.com/office/powerpoint/2010/main" val="37181626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Настройки, инструменты">
            <a:extLst>
              <a:ext uri="{FF2B5EF4-FFF2-40B4-BE49-F238E27FC236}">
                <a16:creationId xmlns:a16="http://schemas.microsoft.com/office/drawing/2014/main" id="{0B59FEA4-8617-C33E-32BE-2D32F7CFBA6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6123" y="150433"/>
            <a:ext cx="1596913" cy="1596913"/>
          </a:xfrm>
        </p:spPr>
      </p:pic>
      <p:sp>
        <p:nvSpPr>
          <p:cNvPr id="15" name="Текст 23">
            <a:extLst>
              <a:ext uri="{FF2B5EF4-FFF2-40B4-BE49-F238E27FC236}">
                <a16:creationId xmlns:a16="http://schemas.microsoft.com/office/drawing/2014/main" id="{2B3D507C-45B5-EAD9-53B1-643E4AB3F28D}"/>
              </a:ext>
            </a:extLst>
          </p:cNvPr>
          <p:cNvSpPr txBox="1">
            <a:spLocks/>
          </p:cNvSpPr>
          <p:nvPr/>
        </p:nvSpPr>
        <p:spPr>
          <a:xfrm>
            <a:off x="2296510" y="948889"/>
            <a:ext cx="7598979" cy="42668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Система должна обеспечить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пропускную способность на уровне не менее 10 млн. просмотров уроков в го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динаковый уровень производительности для пользователей разных регион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масштабируемость хранения данных к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эластичность </a:t>
            </a:r>
            <a:r>
              <a:rPr lang="ru-RU" sz="1800" b="0" dirty="0" err="1">
                <a:effectLst/>
              </a:rPr>
              <a:t>выч</a:t>
            </a:r>
            <a:r>
              <a:rPr lang="ru-RU" sz="1800" b="0" dirty="0">
                <a:effectLst/>
              </a:rPr>
              <a:t>. рес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расширяемость функциона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разграничение прав доступа пользовател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адаптивность </a:t>
            </a:r>
            <a:r>
              <a:rPr lang="en-US" sz="1800" b="0" dirty="0">
                <a:effectLst/>
              </a:rPr>
              <a:t>web-</a:t>
            </a:r>
            <a:r>
              <a:rPr lang="ru-RU" sz="1800" b="0" dirty="0">
                <a:effectLst/>
              </a:rPr>
              <a:t>интерфейса пользователя для использование на мобильных и десктопных устройства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использование различных источников контента: </a:t>
            </a:r>
            <a:r>
              <a:rPr lang="en-US" sz="1800" b="0" dirty="0" err="1">
                <a:effectLst/>
              </a:rPr>
              <a:t>youtube</a:t>
            </a:r>
            <a:r>
              <a:rPr lang="en-US" sz="1800" b="0" dirty="0">
                <a:effectLst/>
              </a:rPr>
              <a:t>, </a:t>
            </a:r>
            <a:r>
              <a:rPr lang="en-US" sz="1800" b="0" dirty="0" err="1">
                <a:effectLst/>
              </a:rPr>
              <a:t>vk</a:t>
            </a:r>
            <a:r>
              <a:rPr lang="en-US" sz="1800" b="0" dirty="0">
                <a:effectLst/>
              </a:rPr>
              <a:t>, s3, </a:t>
            </a:r>
            <a:r>
              <a:rPr lang="en-US" sz="1800" b="0" dirty="0" err="1">
                <a:effectLst/>
              </a:rPr>
              <a:t>cdn</a:t>
            </a:r>
            <a:endParaRPr lang="en-US" sz="1800" b="0" dirty="0">
              <a:effectLst/>
            </a:endParaRPr>
          </a:p>
        </p:txBody>
      </p:sp>
      <p:pic>
        <p:nvPicPr>
          <p:cNvPr id="2" name="Рисунок 1" descr="Процесс, инструменты, функция ">
            <a:extLst>
              <a:ext uri="{FF2B5EF4-FFF2-40B4-BE49-F238E27FC236}">
                <a16:creationId xmlns:a16="http://schemas.microsoft.com/office/drawing/2014/main" id="{EA186DD0-20D5-1B63-B3B3-8661EFF6632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68963" y="5215698"/>
            <a:ext cx="1279451" cy="1279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9069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7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Допущения</a:t>
            </a:r>
          </a:p>
        </p:txBody>
      </p:sp>
    </p:spTree>
    <p:extLst>
      <p:ext uri="{BB962C8B-B14F-4D97-AF65-F5344CB8AC3E}">
        <p14:creationId xmlns:p14="http://schemas.microsoft.com/office/powerpoint/2010/main" val="37337261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23">
            <a:extLst>
              <a:ext uri="{FF2B5EF4-FFF2-40B4-BE49-F238E27FC236}">
                <a16:creationId xmlns:a16="http://schemas.microsoft.com/office/drawing/2014/main" id="{975CC8C9-2C96-EAA9-0DDD-FC60A9BB0D90}"/>
              </a:ext>
            </a:extLst>
          </p:cNvPr>
          <p:cNvSpPr txBox="1">
            <a:spLocks/>
          </p:cNvSpPr>
          <p:nvPr/>
        </p:nvSpPr>
        <p:spPr>
          <a:xfrm>
            <a:off x="2377964" y="809507"/>
            <a:ext cx="7436071" cy="5513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Число Обучающихся на порядки превосходит число Персонал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Э</a:t>
            </a:r>
            <a:r>
              <a:rPr lang="ru-RU" sz="1800" b="0" dirty="0">
                <a:effectLst/>
              </a:rPr>
              <a:t>волюция обучающих материалов, структуры курсов происходит сильно быстрей, чем функционала по управлению им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Г</a:t>
            </a:r>
            <a:r>
              <a:rPr lang="ru-RU" sz="1800" b="0" dirty="0">
                <a:effectLst/>
              </a:rPr>
              <a:t>оризонт проектирования 3 года, рост объемов данных и траффика 100% ежегодно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Н</a:t>
            </a:r>
            <a:r>
              <a:rPr lang="ru-RU" sz="1800" b="0" dirty="0">
                <a:effectLst/>
              </a:rPr>
              <a:t>аиболее нагруженный функционал - загрузка списка уроков/курсов, конкретного урока/курса и </a:t>
            </a:r>
            <a:r>
              <a:rPr lang="ru-RU" sz="1800" dirty="0"/>
              <a:t>статический контент</a:t>
            </a:r>
            <a:endParaRPr lang="ru-RU" sz="1800" b="0" dirty="0">
              <a:effectLst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В</a:t>
            </a:r>
            <a:r>
              <a:rPr lang="ru-RU" sz="1800" b="0" dirty="0">
                <a:effectLst/>
              </a:rPr>
              <a:t> ЧНН кол-во запросов возрастает в 3 раз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Д</a:t>
            </a:r>
            <a:r>
              <a:rPr lang="ru-RU" sz="1800" b="0" dirty="0">
                <a:effectLst/>
              </a:rPr>
              <a:t>ети ленивы - учатся на платформе только 190 дней в году (168 учебных дней, 22 дня каникул ~ 10% от всех выходных) и не более 9 часов (</a:t>
            </a:r>
            <a:r>
              <a:rPr lang="en-US" sz="1800" b="0" dirty="0">
                <a:effectLst/>
              </a:rPr>
              <a:t>c 13-00 </a:t>
            </a:r>
            <a:r>
              <a:rPr lang="ru-RU" sz="1800" b="0" dirty="0">
                <a:effectLst/>
              </a:rPr>
              <a:t>до 22-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Н</a:t>
            </a:r>
            <a:r>
              <a:rPr lang="ru-RU" sz="1800" b="0" dirty="0">
                <a:effectLst/>
              </a:rPr>
              <a:t>агрузка распределена примерно равномерно из-за </a:t>
            </a:r>
            <a:r>
              <a:rPr lang="ru-RU" sz="1800" b="0" dirty="0" err="1">
                <a:effectLst/>
              </a:rPr>
              <a:t>геораспределенности</a:t>
            </a:r>
            <a:r>
              <a:rPr lang="ru-RU" sz="1800" b="0" dirty="0">
                <a:effectLst/>
              </a:rPr>
              <a:t> учеников (пренебрегаем асимметричностью распределения населения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В</a:t>
            </a:r>
            <a:r>
              <a:rPr lang="ru-RU" sz="1800" b="0" dirty="0">
                <a:effectLst/>
              </a:rPr>
              <a:t> год создается 20 курсов, в каждом 15 уроков, и еще 50 различных активносте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метаданных для хранения урока ~ 100</a:t>
            </a:r>
            <a:r>
              <a:rPr lang="en-US" sz="1800" b="0" dirty="0">
                <a:effectLst/>
              </a:rPr>
              <a:t>KB</a:t>
            </a:r>
          </a:p>
        </p:txBody>
      </p:sp>
      <p:pic>
        <p:nvPicPr>
          <p:cNvPr id="15" name="Рисунок 14" descr="Состав, составление, создание">
            <a:extLst>
              <a:ext uri="{FF2B5EF4-FFF2-40B4-BE49-F238E27FC236}">
                <a16:creationId xmlns:a16="http://schemas.microsoft.com/office/drawing/2014/main" id="{0433DDC3-D469-17AC-92E9-4805D1E823C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1105" y="192804"/>
            <a:ext cx="1610537" cy="1464635"/>
          </a:xfrm>
          <a:prstGeom prst="rect">
            <a:avLst/>
          </a:prstGeom>
        </p:spPr>
      </p:pic>
      <p:grpSp>
        <p:nvGrpSpPr>
          <p:cNvPr id="16" name="Рисунок 27" descr="Работа, рабочий процесс">
            <a:extLst>
              <a:ext uri="{FF2B5EF4-FFF2-40B4-BE49-F238E27FC236}">
                <a16:creationId xmlns:a16="http://schemas.microsoft.com/office/drawing/2014/main" id="{88F142EE-E2EE-2D9A-BB85-DC4A51B62BBD}"/>
              </a:ext>
            </a:extLst>
          </p:cNvPr>
          <p:cNvGrpSpPr/>
          <p:nvPr/>
        </p:nvGrpSpPr>
        <p:grpSpPr>
          <a:xfrm>
            <a:off x="10030207" y="5331450"/>
            <a:ext cx="1696743" cy="1209391"/>
            <a:chOff x="3051338" y="5026650"/>
            <a:chExt cx="1696743" cy="1209391"/>
          </a:xfrm>
        </p:grpSpPr>
        <p:sp>
          <p:nvSpPr>
            <p:cNvPr id="17" name="Полилиния: фигура 115">
              <a:extLst>
                <a:ext uri="{FF2B5EF4-FFF2-40B4-BE49-F238E27FC236}">
                  <a16:creationId xmlns:a16="http://schemas.microsoft.com/office/drawing/2014/main" id="{A2AA8AAB-4646-0878-2C21-B0E91905EDC9}"/>
                </a:ext>
              </a:extLst>
            </p:cNvPr>
            <p:cNvSpPr/>
            <p:nvPr/>
          </p:nvSpPr>
          <p:spPr>
            <a:xfrm>
              <a:off x="3561278" y="5632366"/>
              <a:ext cx="544328" cy="561163"/>
            </a:xfrm>
            <a:custGeom>
              <a:avLst/>
              <a:gdLst>
                <a:gd name="connsiteX0" fmla="*/ 2472 w 544327"/>
                <a:gd name="connsiteY0" fmla="*/ 30400 h 561162"/>
                <a:gd name="connsiteX1" fmla="*/ 149160 w 544327"/>
                <a:gd name="connsiteY1" fmla="*/ 4081 h 561162"/>
                <a:gd name="connsiteX2" fmla="*/ 211006 w 544327"/>
                <a:gd name="connsiteY2" fmla="*/ 12218 h 561162"/>
                <a:gd name="connsiteX3" fmla="*/ 256791 w 544327"/>
                <a:gd name="connsiteY3" fmla="*/ 54586 h 561162"/>
                <a:gd name="connsiteX4" fmla="*/ 545510 w 544327"/>
                <a:gd name="connsiteY4" fmla="*/ 562326 h 561162"/>
                <a:gd name="connsiteX5" fmla="*/ 82999 w 544327"/>
                <a:gd name="connsiteY5" fmla="*/ 562326 h 561162"/>
                <a:gd name="connsiteX6" fmla="*/ 2472 w 544327"/>
                <a:gd name="connsiteY6" fmla="*/ 30400 h 56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327" h="561162">
                  <a:moveTo>
                    <a:pt x="2472" y="30400"/>
                  </a:moveTo>
                  <a:lnTo>
                    <a:pt x="149160" y="4081"/>
                  </a:lnTo>
                  <a:cubicBezTo>
                    <a:pt x="170120" y="332"/>
                    <a:pt x="191730" y="3172"/>
                    <a:pt x="211006" y="12218"/>
                  </a:cubicBezTo>
                  <a:cubicBezTo>
                    <a:pt x="230282" y="21264"/>
                    <a:pt x="246281" y="36067"/>
                    <a:pt x="256791" y="54586"/>
                  </a:cubicBezTo>
                  <a:lnTo>
                    <a:pt x="545510" y="562326"/>
                  </a:lnTo>
                  <a:lnTo>
                    <a:pt x="82999" y="562326"/>
                  </a:lnTo>
                  <a:lnTo>
                    <a:pt x="2472" y="3040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16">
              <a:extLst>
                <a:ext uri="{FF2B5EF4-FFF2-40B4-BE49-F238E27FC236}">
                  <a16:creationId xmlns:a16="http://schemas.microsoft.com/office/drawing/2014/main" id="{4A360D5D-C6E9-AA6F-9CDD-82C761D709FD}"/>
                </a:ext>
              </a:extLst>
            </p:cNvPr>
            <p:cNvSpPr/>
            <p:nvPr/>
          </p:nvSpPr>
          <p:spPr>
            <a:xfrm>
              <a:off x="3583556" y="5845084"/>
              <a:ext cx="516270" cy="347921"/>
            </a:xfrm>
            <a:custGeom>
              <a:avLst/>
              <a:gdLst>
                <a:gd name="connsiteX0" fmla="*/ 55053 w 516269"/>
                <a:gd name="connsiteY0" fmla="*/ 349551 h 347920"/>
                <a:gd name="connsiteX1" fmla="*/ 517564 w 516269"/>
                <a:gd name="connsiteY1" fmla="*/ 349551 h 347920"/>
                <a:gd name="connsiteX2" fmla="*/ 320203 w 516269"/>
                <a:gd name="connsiteY2" fmla="*/ 2472 h 347920"/>
                <a:gd name="connsiteX3" fmla="*/ 2472 w 516269"/>
                <a:gd name="connsiteY3" fmla="*/ 2472 h 347920"/>
                <a:gd name="connsiteX4" fmla="*/ 55053 w 516269"/>
                <a:gd name="connsiteY4" fmla="*/ 349551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269" h="347920">
                  <a:moveTo>
                    <a:pt x="55053" y="349551"/>
                  </a:moveTo>
                  <a:lnTo>
                    <a:pt x="517564" y="349551"/>
                  </a:lnTo>
                  <a:lnTo>
                    <a:pt x="320203" y="2472"/>
                  </a:lnTo>
                  <a:lnTo>
                    <a:pt x="2472" y="2472"/>
                  </a:lnTo>
                  <a:lnTo>
                    <a:pt x="55053" y="349551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17">
              <a:extLst>
                <a:ext uri="{FF2B5EF4-FFF2-40B4-BE49-F238E27FC236}">
                  <a16:creationId xmlns:a16="http://schemas.microsoft.com/office/drawing/2014/main" id="{CCDEBBCC-801C-CAE9-D891-6C432B57FCF5}"/>
                </a:ext>
              </a:extLst>
            </p:cNvPr>
            <p:cNvSpPr/>
            <p:nvPr/>
          </p:nvSpPr>
          <p:spPr>
            <a:xfrm>
              <a:off x="3578050" y="5839416"/>
              <a:ext cx="527493" cy="359144"/>
            </a:xfrm>
            <a:custGeom>
              <a:avLst/>
              <a:gdLst>
                <a:gd name="connsiteX0" fmla="*/ 523014 w 527492"/>
                <a:gd name="connsiteY0" fmla="*/ 360831 h 359144"/>
                <a:gd name="connsiteX1" fmla="*/ 60503 w 527492"/>
                <a:gd name="connsiteY1" fmla="*/ 360831 h 359144"/>
                <a:gd name="connsiteX2" fmla="*/ 56805 w 527492"/>
                <a:gd name="connsiteY2" fmla="*/ 359496 h 359144"/>
                <a:gd name="connsiteX3" fmla="*/ 54892 w 527492"/>
                <a:gd name="connsiteY3" fmla="*/ 356062 h 359144"/>
                <a:gd name="connsiteX4" fmla="*/ 2536 w 527492"/>
                <a:gd name="connsiteY4" fmla="*/ 8926 h 359144"/>
                <a:gd name="connsiteX5" fmla="*/ 2695 w 527492"/>
                <a:gd name="connsiteY5" fmla="*/ 6519 h 359144"/>
                <a:gd name="connsiteX6" fmla="*/ 3848 w 527492"/>
                <a:gd name="connsiteY6" fmla="*/ 4403 h 359144"/>
                <a:gd name="connsiteX7" fmla="*/ 5786 w 527492"/>
                <a:gd name="connsiteY7" fmla="*/ 2961 h 359144"/>
                <a:gd name="connsiteX8" fmla="*/ 8148 w 527492"/>
                <a:gd name="connsiteY8" fmla="*/ 2473 h 359144"/>
                <a:gd name="connsiteX9" fmla="*/ 325821 w 527492"/>
                <a:gd name="connsiteY9" fmla="*/ 2473 h 359144"/>
                <a:gd name="connsiteX10" fmla="*/ 328649 w 527492"/>
                <a:gd name="connsiteY10" fmla="*/ 3242 h 359144"/>
                <a:gd name="connsiteX11" fmla="*/ 330703 w 527492"/>
                <a:gd name="connsiteY11" fmla="*/ 5335 h 359144"/>
                <a:gd name="connsiteX12" fmla="*/ 528064 w 527492"/>
                <a:gd name="connsiteY12" fmla="*/ 352414 h 359144"/>
                <a:gd name="connsiteX13" fmla="*/ 528816 w 527492"/>
                <a:gd name="connsiteY13" fmla="*/ 355220 h 359144"/>
                <a:gd name="connsiteX14" fmla="*/ 528064 w 527492"/>
                <a:gd name="connsiteY14" fmla="*/ 358026 h 359144"/>
                <a:gd name="connsiteX15" fmla="*/ 525932 w 527492"/>
                <a:gd name="connsiteY15" fmla="*/ 360130 h 359144"/>
                <a:gd name="connsiteX16" fmla="*/ 523014 w 527492"/>
                <a:gd name="connsiteY16" fmla="*/ 360831 h 359144"/>
                <a:gd name="connsiteX17" fmla="*/ 65329 w 527492"/>
                <a:gd name="connsiteY17" fmla="*/ 349608 h 359144"/>
                <a:gd name="connsiteX18" fmla="*/ 513193 w 527492"/>
                <a:gd name="connsiteY18" fmla="*/ 349608 h 359144"/>
                <a:gd name="connsiteX19" fmla="*/ 322398 w 527492"/>
                <a:gd name="connsiteY19" fmla="*/ 13696 h 359144"/>
                <a:gd name="connsiteX20" fmla="*/ 14488 w 527492"/>
                <a:gd name="connsiteY20" fmla="*/ 13696 h 359144"/>
                <a:gd name="connsiteX21" fmla="*/ 65329 w 527492"/>
                <a:gd name="connsiteY21" fmla="*/ 349608 h 3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27492" h="359144">
                  <a:moveTo>
                    <a:pt x="523014" y="360831"/>
                  </a:moveTo>
                  <a:lnTo>
                    <a:pt x="60503" y="360831"/>
                  </a:lnTo>
                  <a:cubicBezTo>
                    <a:pt x="59151" y="360848"/>
                    <a:pt x="57838" y="360371"/>
                    <a:pt x="56805" y="359496"/>
                  </a:cubicBezTo>
                  <a:cubicBezTo>
                    <a:pt x="55773" y="358620"/>
                    <a:pt x="55094" y="357397"/>
                    <a:pt x="54892" y="356062"/>
                  </a:cubicBezTo>
                  <a:lnTo>
                    <a:pt x="2536" y="8926"/>
                  </a:lnTo>
                  <a:cubicBezTo>
                    <a:pt x="2414" y="8118"/>
                    <a:pt x="2468" y="7299"/>
                    <a:pt x="2695" y="6519"/>
                  </a:cubicBezTo>
                  <a:cubicBezTo>
                    <a:pt x="2922" y="5739"/>
                    <a:pt x="3315" y="5015"/>
                    <a:pt x="3848" y="4403"/>
                  </a:cubicBezTo>
                  <a:cubicBezTo>
                    <a:pt x="4383" y="3786"/>
                    <a:pt x="5044" y="3298"/>
                    <a:pt x="5786" y="2961"/>
                  </a:cubicBezTo>
                  <a:cubicBezTo>
                    <a:pt x="6528" y="2630"/>
                    <a:pt x="7334" y="2462"/>
                    <a:pt x="8148" y="2473"/>
                  </a:cubicBezTo>
                  <a:lnTo>
                    <a:pt x="325821" y="2473"/>
                  </a:lnTo>
                  <a:cubicBezTo>
                    <a:pt x="326814" y="2473"/>
                    <a:pt x="327791" y="2737"/>
                    <a:pt x="328649" y="3242"/>
                  </a:cubicBezTo>
                  <a:cubicBezTo>
                    <a:pt x="329508" y="3747"/>
                    <a:pt x="330215" y="4465"/>
                    <a:pt x="330703" y="5335"/>
                  </a:cubicBezTo>
                  <a:lnTo>
                    <a:pt x="528064" y="352414"/>
                  </a:lnTo>
                  <a:cubicBezTo>
                    <a:pt x="528558" y="353267"/>
                    <a:pt x="528816" y="354232"/>
                    <a:pt x="528816" y="355220"/>
                  </a:cubicBezTo>
                  <a:cubicBezTo>
                    <a:pt x="528816" y="356202"/>
                    <a:pt x="528558" y="357173"/>
                    <a:pt x="528064" y="358026"/>
                  </a:cubicBezTo>
                  <a:cubicBezTo>
                    <a:pt x="527554" y="358907"/>
                    <a:pt x="526818" y="359631"/>
                    <a:pt x="525932" y="360130"/>
                  </a:cubicBezTo>
                  <a:cubicBezTo>
                    <a:pt x="525040" y="360624"/>
                    <a:pt x="524029" y="360865"/>
                    <a:pt x="523014" y="360831"/>
                  </a:cubicBezTo>
                  <a:close/>
                  <a:moveTo>
                    <a:pt x="65329" y="349608"/>
                  </a:moveTo>
                  <a:lnTo>
                    <a:pt x="513193" y="349608"/>
                  </a:lnTo>
                  <a:lnTo>
                    <a:pt x="322398" y="13696"/>
                  </a:lnTo>
                  <a:lnTo>
                    <a:pt x="14488" y="13696"/>
                  </a:lnTo>
                  <a:lnTo>
                    <a:pt x="65329" y="349608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18">
              <a:extLst>
                <a:ext uri="{FF2B5EF4-FFF2-40B4-BE49-F238E27FC236}">
                  <a16:creationId xmlns:a16="http://schemas.microsoft.com/office/drawing/2014/main" id="{FCAFD233-EE47-405B-7C68-CCFC55217E4D}"/>
                </a:ext>
              </a:extLst>
            </p:cNvPr>
            <p:cNvSpPr/>
            <p:nvPr/>
          </p:nvSpPr>
          <p:spPr>
            <a:xfrm>
              <a:off x="3522873" y="5026650"/>
              <a:ext cx="454542" cy="443318"/>
            </a:xfrm>
            <a:custGeom>
              <a:avLst/>
              <a:gdLst>
                <a:gd name="connsiteX0" fmla="*/ 179596 w 454541"/>
                <a:gd name="connsiteY0" fmla="*/ 199471 h 443318"/>
                <a:gd name="connsiteX1" fmla="*/ 453051 w 454541"/>
                <a:gd name="connsiteY1" fmla="*/ 223826 h 443318"/>
                <a:gd name="connsiteX2" fmla="*/ 418068 w 454541"/>
                <a:gd name="connsiteY2" fmla="*/ 107139 h 443318"/>
                <a:gd name="connsiteX3" fmla="*/ 327451 w 454541"/>
                <a:gd name="connsiteY3" fmla="*/ 25720 h 443318"/>
                <a:gd name="connsiteX4" fmla="*/ 207705 w 454541"/>
                <a:gd name="connsiteY4" fmla="*/ 3369 h 443318"/>
                <a:gd name="connsiteX5" fmla="*/ 93823 w 454541"/>
                <a:gd name="connsiteY5" fmla="*/ 46620 h 443318"/>
                <a:gd name="connsiteX6" fmla="*/ 19100 w 454541"/>
                <a:gd name="connsiteY6" fmla="*/ 142830 h 443318"/>
                <a:gd name="connsiteX7" fmla="*/ 5383 w 454541"/>
                <a:gd name="connsiteY7" fmla="*/ 263874 h 443318"/>
                <a:gd name="connsiteX8" fmla="*/ 56679 w 454541"/>
                <a:gd name="connsiteY8" fmla="*/ 374365 h 443318"/>
                <a:gd name="connsiteX9" fmla="*/ 157992 w 454541"/>
                <a:gd name="connsiteY9" fmla="*/ 442006 h 443318"/>
                <a:gd name="connsiteX10" fmla="*/ 179596 w 454541"/>
                <a:gd name="connsiteY10" fmla="*/ 199471 h 44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4541" h="443318">
                  <a:moveTo>
                    <a:pt x="179596" y="199471"/>
                  </a:moveTo>
                  <a:lnTo>
                    <a:pt x="453051" y="223826"/>
                  </a:lnTo>
                  <a:cubicBezTo>
                    <a:pt x="452327" y="182456"/>
                    <a:pt x="440223" y="142084"/>
                    <a:pt x="418068" y="107139"/>
                  </a:cubicBezTo>
                  <a:cubicBezTo>
                    <a:pt x="395913" y="72194"/>
                    <a:pt x="364561" y="44024"/>
                    <a:pt x="327451" y="25720"/>
                  </a:cubicBezTo>
                  <a:cubicBezTo>
                    <a:pt x="290347" y="7415"/>
                    <a:pt x="248917" y="-318"/>
                    <a:pt x="207705" y="3369"/>
                  </a:cubicBezTo>
                  <a:cubicBezTo>
                    <a:pt x="166493" y="7056"/>
                    <a:pt x="127094" y="22020"/>
                    <a:pt x="93823" y="46620"/>
                  </a:cubicBezTo>
                  <a:cubicBezTo>
                    <a:pt x="60555" y="71221"/>
                    <a:pt x="34700" y="104507"/>
                    <a:pt x="19100" y="142830"/>
                  </a:cubicBezTo>
                  <a:cubicBezTo>
                    <a:pt x="3499" y="181153"/>
                    <a:pt x="-1246" y="223032"/>
                    <a:pt x="5383" y="263874"/>
                  </a:cubicBezTo>
                  <a:cubicBezTo>
                    <a:pt x="12011" y="304716"/>
                    <a:pt x="29760" y="342944"/>
                    <a:pt x="56679" y="374365"/>
                  </a:cubicBezTo>
                  <a:cubicBezTo>
                    <a:pt x="83599" y="405788"/>
                    <a:pt x="118654" y="429190"/>
                    <a:pt x="157992" y="442006"/>
                  </a:cubicBezTo>
                  <a:lnTo>
                    <a:pt x="179596" y="199471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119">
              <a:extLst>
                <a:ext uri="{FF2B5EF4-FFF2-40B4-BE49-F238E27FC236}">
                  <a16:creationId xmlns:a16="http://schemas.microsoft.com/office/drawing/2014/main" id="{BB75116D-032B-71DF-CB20-C193749C6DD9}"/>
                </a:ext>
              </a:extLst>
            </p:cNvPr>
            <p:cNvSpPr/>
            <p:nvPr/>
          </p:nvSpPr>
          <p:spPr>
            <a:xfrm>
              <a:off x="3345903" y="5215855"/>
              <a:ext cx="269358" cy="269358"/>
            </a:xfrm>
            <a:custGeom>
              <a:avLst/>
              <a:gdLst>
                <a:gd name="connsiteX0" fmla="*/ 207364 w 269358"/>
                <a:gd name="connsiteY0" fmla="*/ 247223 h 269358"/>
                <a:gd name="connsiteX1" fmla="*/ 247222 w 269358"/>
                <a:gd name="connsiteY1" fmla="*/ 63492 h 269358"/>
                <a:gd name="connsiteX2" fmla="*/ 63492 w 269358"/>
                <a:gd name="connsiteY2" fmla="*/ 23633 h 269358"/>
                <a:gd name="connsiteX3" fmla="*/ 23633 w 269358"/>
                <a:gd name="connsiteY3" fmla="*/ 207364 h 269358"/>
                <a:gd name="connsiteX4" fmla="*/ 207364 w 269358"/>
                <a:gd name="connsiteY4" fmla="*/ 247223 h 26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58" h="269358">
                  <a:moveTo>
                    <a:pt x="207364" y="247223"/>
                  </a:moveTo>
                  <a:cubicBezTo>
                    <a:pt x="269104" y="207493"/>
                    <a:pt x="286949" y="125234"/>
                    <a:pt x="247222" y="63492"/>
                  </a:cubicBezTo>
                  <a:cubicBezTo>
                    <a:pt x="207493" y="1749"/>
                    <a:pt x="125234" y="-16096"/>
                    <a:pt x="63492" y="23633"/>
                  </a:cubicBezTo>
                  <a:cubicBezTo>
                    <a:pt x="1749" y="63363"/>
                    <a:pt x="-16096" y="145621"/>
                    <a:pt x="23633" y="207364"/>
                  </a:cubicBezTo>
                  <a:cubicBezTo>
                    <a:pt x="63363" y="269107"/>
                    <a:pt x="145622" y="286952"/>
                    <a:pt x="207364" y="247223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120">
              <a:extLst>
                <a:ext uri="{FF2B5EF4-FFF2-40B4-BE49-F238E27FC236}">
                  <a16:creationId xmlns:a16="http://schemas.microsoft.com/office/drawing/2014/main" id="{3F2F1E5A-77F2-912F-BE01-3E1733623F52}"/>
                </a:ext>
              </a:extLst>
            </p:cNvPr>
            <p:cNvSpPr/>
            <p:nvPr/>
          </p:nvSpPr>
          <p:spPr>
            <a:xfrm>
              <a:off x="3333851" y="5192171"/>
              <a:ext cx="280581" cy="280581"/>
            </a:xfrm>
            <a:custGeom>
              <a:avLst/>
              <a:gdLst>
                <a:gd name="connsiteX0" fmla="*/ 141012 w 280581"/>
                <a:gd name="connsiteY0" fmla="*/ 279626 h 280581"/>
                <a:gd name="connsiteX1" fmla="*/ 111663 w 280581"/>
                <a:gd name="connsiteY1" fmla="*/ 276428 h 280581"/>
                <a:gd name="connsiteX2" fmla="*/ 41381 w 280581"/>
                <a:gd name="connsiteY2" fmla="*/ 237292 h 280581"/>
                <a:gd name="connsiteX3" fmla="*/ 4688 w 280581"/>
                <a:gd name="connsiteY3" fmla="*/ 165704 h 280581"/>
                <a:gd name="connsiteX4" fmla="*/ 13955 w 280581"/>
                <a:gd name="connsiteY4" fmla="*/ 85796 h 280581"/>
                <a:gd name="connsiteX5" fmla="*/ 66057 w 280581"/>
                <a:gd name="connsiteY5" fmla="*/ 24506 h 280581"/>
                <a:gd name="connsiteX6" fmla="*/ 143431 w 280581"/>
                <a:gd name="connsiteY6" fmla="*/ 2493 h 280581"/>
                <a:gd name="connsiteX7" fmla="*/ 219991 w 280581"/>
                <a:gd name="connsiteY7" fmla="*/ 27180 h 280581"/>
                <a:gd name="connsiteX8" fmla="*/ 269934 w 280581"/>
                <a:gd name="connsiteY8" fmla="*/ 90243 h 280581"/>
                <a:gd name="connsiteX9" fmla="*/ 276420 w 280581"/>
                <a:gd name="connsiteY9" fmla="*/ 170424 h 280581"/>
                <a:gd name="connsiteX10" fmla="*/ 227948 w 280581"/>
                <a:gd name="connsiteY10" fmla="*/ 248875 h 280581"/>
                <a:gd name="connsiteX11" fmla="*/ 141012 w 280581"/>
                <a:gd name="connsiteY11" fmla="*/ 279626 h 280581"/>
                <a:gd name="connsiteX12" fmla="*/ 140729 w 280581"/>
                <a:gd name="connsiteY12" fmla="*/ 13636 h 280581"/>
                <a:gd name="connsiteX13" fmla="*/ 72878 w 280581"/>
                <a:gd name="connsiteY13" fmla="*/ 33371 h 280581"/>
                <a:gd name="connsiteX14" fmla="*/ 25984 w 280581"/>
                <a:gd name="connsiteY14" fmla="*/ 86235 h 280581"/>
                <a:gd name="connsiteX15" fmla="*/ 14481 w 280581"/>
                <a:gd name="connsiteY15" fmla="*/ 155957 h 280581"/>
                <a:gd name="connsiteX16" fmla="*/ 41906 w 280581"/>
                <a:gd name="connsiteY16" fmla="*/ 221082 h 280581"/>
                <a:gd name="connsiteX17" fmla="*/ 99823 w 280581"/>
                <a:gd name="connsiteY17" fmla="*/ 261569 h 280581"/>
                <a:gd name="connsiteX18" fmla="*/ 170407 w 280581"/>
                <a:gd name="connsiteY18" fmla="*/ 264959 h 280581"/>
                <a:gd name="connsiteX19" fmla="*/ 231935 w 280581"/>
                <a:gd name="connsiteY19" fmla="*/ 230209 h 280581"/>
                <a:gd name="connsiteX20" fmla="*/ 265476 w 280581"/>
                <a:gd name="connsiteY20" fmla="*/ 168011 h 280581"/>
                <a:gd name="connsiteX21" fmla="*/ 264903 w 280581"/>
                <a:gd name="connsiteY21" fmla="*/ 111608 h 280581"/>
                <a:gd name="connsiteX22" fmla="*/ 240037 w 280581"/>
                <a:gd name="connsiteY22" fmla="*/ 60978 h 280581"/>
                <a:gd name="connsiteX23" fmla="*/ 195755 w 280581"/>
                <a:gd name="connsiteY23" fmla="*/ 26039 h 280581"/>
                <a:gd name="connsiteX24" fmla="*/ 140729 w 280581"/>
                <a:gd name="connsiteY24" fmla="*/ 13636 h 28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0581" h="280581">
                  <a:moveTo>
                    <a:pt x="141012" y="279626"/>
                  </a:moveTo>
                  <a:cubicBezTo>
                    <a:pt x="131141" y="279639"/>
                    <a:pt x="121299" y="278566"/>
                    <a:pt x="111663" y="276428"/>
                  </a:cubicBezTo>
                  <a:cubicBezTo>
                    <a:pt x="84881" y="270620"/>
                    <a:pt x="60422" y="257001"/>
                    <a:pt x="41381" y="237292"/>
                  </a:cubicBezTo>
                  <a:cubicBezTo>
                    <a:pt x="22339" y="217583"/>
                    <a:pt x="9570" y="192670"/>
                    <a:pt x="4688" y="165704"/>
                  </a:cubicBezTo>
                  <a:cubicBezTo>
                    <a:pt x="-193" y="138738"/>
                    <a:pt x="3032" y="110930"/>
                    <a:pt x="13955" y="85796"/>
                  </a:cubicBezTo>
                  <a:cubicBezTo>
                    <a:pt x="24879" y="60663"/>
                    <a:pt x="43011" y="39334"/>
                    <a:pt x="66057" y="24506"/>
                  </a:cubicBezTo>
                  <a:cubicBezTo>
                    <a:pt x="89104" y="9678"/>
                    <a:pt x="116030" y="2017"/>
                    <a:pt x="143431" y="2493"/>
                  </a:cubicBezTo>
                  <a:cubicBezTo>
                    <a:pt x="170831" y="2970"/>
                    <a:pt x="197473" y="11561"/>
                    <a:pt x="219991" y="27180"/>
                  </a:cubicBezTo>
                  <a:cubicBezTo>
                    <a:pt x="242509" y="42799"/>
                    <a:pt x="259889" y="64745"/>
                    <a:pt x="269934" y="90243"/>
                  </a:cubicBezTo>
                  <a:cubicBezTo>
                    <a:pt x="279977" y="115740"/>
                    <a:pt x="282233" y="143644"/>
                    <a:pt x="276420" y="170424"/>
                  </a:cubicBezTo>
                  <a:cubicBezTo>
                    <a:pt x="269677" y="201335"/>
                    <a:pt x="252575" y="229014"/>
                    <a:pt x="227948" y="248875"/>
                  </a:cubicBezTo>
                  <a:cubicBezTo>
                    <a:pt x="203321" y="268736"/>
                    <a:pt x="172649" y="279586"/>
                    <a:pt x="141012" y="279626"/>
                  </a:cubicBezTo>
                  <a:close/>
                  <a:moveTo>
                    <a:pt x="140729" y="13636"/>
                  </a:moveTo>
                  <a:cubicBezTo>
                    <a:pt x="116703" y="13683"/>
                    <a:pt x="93181" y="20526"/>
                    <a:pt x="72878" y="33371"/>
                  </a:cubicBezTo>
                  <a:cubicBezTo>
                    <a:pt x="52574" y="46217"/>
                    <a:pt x="36317" y="64544"/>
                    <a:pt x="25984" y="86235"/>
                  </a:cubicBezTo>
                  <a:cubicBezTo>
                    <a:pt x="15651" y="107925"/>
                    <a:pt x="11664" y="132096"/>
                    <a:pt x="14481" y="155957"/>
                  </a:cubicBezTo>
                  <a:cubicBezTo>
                    <a:pt x="17299" y="179817"/>
                    <a:pt x="26805" y="202394"/>
                    <a:pt x="41906" y="221082"/>
                  </a:cubicBezTo>
                  <a:cubicBezTo>
                    <a:pt x="57007" y="239769"/>
                    <a:pt x="77086" y="253805"/>
                    <a:pt x="99823" y="261569"/>
                  </a:cubicBezTo>
                  <a:cubicBezTo>
                    <a:pt x="122561" y="269333"/>
                    <a:pt x="147030" y="270508"/>
                    <a:pt x="170407" y="264959"/>
                  </a:cubicBezTo>
                  <a:cubicBezTo>
                    <a:pt x="193783" y="259410"/>
                    <a:pt x="215113" y="247363"/>
                    <a:pt x="231935" y="230209"/>
                  </a:cubicBezTo>
                  <a:cubicBezTo>
                    <a:pt x="248757" y="213054"/>
                    <a:pt x="260384" y="191492"/>
                    <a:pt x="265476" y="168011"/>
                  </a:cubicBezTo>
                  <a:cubicBezTo>
                    <a:pt x="269499" y="149403"/>
                    <a:pt x="269305" y="130130"/>
                    <a:pt x="264903" y="111608"/>
                  </a:cubicBezTo>
                  <a:cubicBezTo>
                    <a:pt x="260501" y="93086"/>
                    <a:pt x="252003" y="75785"/>
                    <a:pt x="240037" y="60978"/>
                  </a:cubicBezTo>
                  <a:cubicBezTo>
                    <a:pt x="228072" y="46170"/>
                    <a:pt x="212940" y="34231"/>
                    <a:pt x="195755" y="26039"/>
                  </a:cubicBezTo>
                  <a:cubicBezTo>
                    <a:pt x="178570" y="17846"/>
                    <a:pt x="159767" y="13608"/>
                    <a:pt x="140729" y="1363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121">
              <a:extLst>
                <a:ext uri="{FF2B5EF4-FFF2-40B4-BE49-F238E27FC236}">
                  <a16:creationId xmlns:a16="http://schemas.microsoft.com/office/drawing/2014/main" id="{EEAAA325-B7E6-5C42-4718-58BE63AB84A1}"/>
                </a:ext>
              </a:extLst>
            </p:cNvPr>
            <p:cNvSpPr/>
            <p:nvPr/>
          </p:nvSpPr>
          <p:spPr>
            <a:xfrm>
              <a:off x="3508061" y="5121565"/>
              <a:ext cx="404037" cy="510658"/>
            </a:xfrm>
            <a:custGeom>
              <a:avLst/>
              <a:gdLst>
                <a:gd name="connsiteX0" fmla="*/ 265396 w 404037"/>
                <a:gd name="connsiteY0" fmla="*/ 2484 h 510657"/>
                <a:gd name="connsiteX1" fmla="*/ 145476 w 404037"/>
                <a:gd name="connsiteY1" fmla="*/ 90250 h 510657"/>
                <a:gd name="connsiteX2" fmla="*/ 144970 w 404037"/>
                <a:gd name="connsiteY2" fmla="*/ 90250 h 510657"/>
                <a:gd name="connsiteX3" fmla="*/ 105184 w 404037"/>
                <a:gd name="connsiteY3" fmla="*/ 40531 h 510657"/>
                <a:gd name="connsiteX4" fmla="*/ 40258 w 404037"/>
                <a:gd name="connsiteY4" fmla="*/ 90530 h 510657"/>
                <a:gd name="connsiteX5" fmla="*/ 77800 w 404037"/>
                <a:gd name="connsiteY5" fmla="*/ 168139 h 510657"/>
                <a:gd name="connsiteX6" fmla="*/ 96542 w 404037"/>
                <a:gd name="connsiteY6" fmla="*/ 168139 h 510657"/>
                <a:gd name="connsiteX7" fmla="*/ 6027 w 404037"/>
                <a:gd name="connsiteY7" fmla="*/ 421392 h 510657"/>
                <a:gd name="connsiteX8" fmla="*/ 7534 w 404037"/>
                <a:gd name="connsiteY8" fmla="*/ 466194 h 510657"/>
                <a:gd name="connsiteX9" fmla="*/ 39305 w 404037"/>
                <a:gd name="connsiteY9" fmla="*/ 497822 h 510657"/>
                <a:gd name="connsiteX10" fmla="*/ 52939 w 404037"/>
                <a:gd name="connsiteY10" fmla="*/ 503715 h 510657"/>
                <a:gd name="connsiteX11" fmla="*/ 184027 w 404037"/>
                <a:gd name="connsiteY11" fmla="*/ 429865 h 510657"/>
                <a:gd name="connsiteX12" fmla="*/ 198618 w 404037"/>
                <a:gd name="connsiteY12" fmla="*/ 388956 h 510657"/>
                <a:gd name="connsiteX13" fmla="*/ 259504 w 404037"/>
                <a:gd name="connsiteY13" fmla="*/ 409327 h 510657"/>
                <a:gd name="connsiteX14" fmla="*/ 405687 w 404037"/>
                <a:gd name="connsiteY14" fmla="*/ 207925 h 510657"/>
                <a:gd name="connsiteX15" fmla="*/ 265396 w 404037"/>
                <a:gd name="connsiteY15" fmla="*/ 2484 h 51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037" h="510657">
                  <a:moveTo>
                    <a:pt x="265396" y="2484"/>
                  </a:moveTo>
                  <a:cubicBezTo>
                    <a:pt x="216070" y="1754"/>
                    <a:pt x="172018" y="36602"/>
                    <a:pt x="145476" y="90250"/>
                  </a:cubicBezTo>
                  <a:lnTo>
                    <a:pt x="144970" y="90250"/>
                  </a:lnTo>
                  <a:cubicBezTo>
                    <a:pt x="142108" y="65390"/>
                    <a:pt x="126957" y="45357"/>
                    <a:pt x="105184" y="40531"/>
                  </a:cubicBezTo>
                  <a:cubicBezTo>
                    <a:pt x="77743" y="34919"/>
                    <a:pt x="48619" y="57365"/>
                    <a:pt x="40258" y="90530"/>
                  </a:cubicBezTo>
                  <a:cubicBezTo>
                    <a:pt x="31223" y="126669"/>
                    <a:pt x="48395" y="161742"/>
                    <a:pt x="77800" y="168139"/>
                  </a:cubicBezTo>
                  <a:cubicBezTo>
                    <a:pt x="83974" y="169487"/>
                    <a:pt x="90366" y="169487"/>
                    <a:pt x="96542" y="168139"/>
                  </a:cubicBezTo>
                  <a:lnTo>
                    <a:pt x="6027" y="421392"/>
                  </a:lnTo>
                  <a:cubicBezTo>
                    <a:pt x="813" y="435974"/>
                    <a:pt x="1351" y="451995"/>
                    <a:pt x="7534" y="466194"/>
                  </a:cubicBezTo>
                  <a:cubicBezTo>
                    <a:pt x="13716" y="480393"/>
                    <a:pt x="25078" y="491706"/>
                    <a:pt x="39305" y="497822"/>
                  </a:cubicBezTo>
                  <a:lnTo>
                    <a:pt x="52939" y="503715"/>
                  </a:lnTo>
                  <a:cubicBezTo>
                    <a:pt x="103052" y="525319"/>
                    <a:pt x="161749" y="492491"/>
                    <a:pt x="184027" y="429865"/>
                  </a:cubicBezTo>
                  <a:lnTo>
                    <a:pt x="198618" y="388956"/>
                  </a:lnTo>
                  <a:cubicBezTo>
                    <a:pt x="216418" y="401694"/>
                    <a:pt x="237624" y="408791"/>
                    <a:pt x="259504" y="409327"/>
                  </a:cubicBezTo>
                  <a:cubicBezTo>
                    <a:pt x="338572" y="410449"/>
                    <a:pt x="404003" y="320270"/>
                    <a:pt x="405687" y="207925"/>
                  </a:cubicBezTo>
                  <a:cubicBezTo>
                    <a:pt x="407370" y="95581"/>
                    <a:pt x="344520" y="3606"/>
                    <a:pt x="265396" y="2484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122">
              <a:extLst>
                <a:ext uri="{FF2B5EF4-FFF2-40B4-BE49-F238E27FC236}">
                  <a16:creationId xmlns:a16="http://schemas.microsoft.com/office/drawing/2014/main" id="{6E7BD61D-E855-7994-0D85-3CBFCDEC0EDB}"/>
                </a:ext>
              </a:extLst>
            </p:cNvPr>
            <p:cNvSpPr/>
            <p:nvPr/>
          </p:nvSpPr>
          <p:spPr>
            <a:xfrm>
              <a:off x="3502468" y="5115953"/>
              <a:ext cx="415260" cy="521881"/>
            </a:xfrm>
            <a:custGeom>
              <a:avLst/>
              <a:gdLst>
                <a:gd name="connsiteX0" fmla="*/ 90463 w 415260"/>
                <a:gd name="connsiteY0" fmla="*/ 521616 h 521881"/>
                <a:gd name="connsiteX1" fmla="*/ 56286 w 415260"/>
                <a:gd name="connsiteY1" fmla="*/ 514601 h 521881"/>
                <a:gd name="connsiteX2" fmla="*/ 42651 w 415260"/>
                <a:gd name="connsiteY2" fmla="*/ 508709 h 521881"/>
                <a:gd name="connsiteX3" fmla="*/ 8025 w 415260"/>
                <a:gd name="connsiteY3" fmla="*/ 474119 h 521881"/>
                <a:gd name="connsiteX4" fmla="*/ 6289 w 415260"/>
                <a:gd name="connsiteY4" fmla="*/ 425208 h 521881"/>
                <a:gd name="connsiteX5" fmla="*/ 93828 w 415260"/>
                <a:gd name="connsiteY5" fmla="*/ 180092 h 521881"/>
                <a:gd name="connsiteX6" fmla="*/ 82212 w 415260"/>
                <a:gd name="connsiteY6" fmla="*/ 178970 h 521881"/>
                <a:gd name="connsiteX7" fmla="*/ 62857 w 415260"/>
                <a:gd name="connsiteY7" fmla="*/ 170062 h 521881"/>
                <a:gd name="connsiteX8" fmla="*/ 48542 w 415260"/>
                <a:gd name="connsiteY8" fmla="*/ 154278 h 521881"/>
                <a:gd name="connsiteX9" fmla="*/ 38500 w 415260"/>
                <a:gd name="connsiteY9" fmla="*/ 125235 h 521881"/>
                <a:gd name="connsiteX10" fmla="*/ 40517 w 415260"/>
                <a:gd name="connsiteY10" fmla="*/ 94571 h 521881"/>
                <a:gd name="connsiteX11" fmla="*/ 112011 w 415260"/>
                <a:gd name="connsiteY11" fmla="*/ 40419 h 521881"/>
                <a:gd name="connsiteX12" fmla="*/ 138027 w 415260"/>
                <a:gd name="connsiteY12" fmla="*/ 54785 h 521881"/>
                <a:gd name="connsiteX13" fmla="*/ 153144 w 415260"/>
                <a:gd name="connsiteY13" fmla="*/ 80374 h 521881"/>
                <a:gd name="connsiteX14" fmla="*/ 270988 w 415260"/>
                <a:gd name="connsiteY14" fmla="*/ 2484 h 521881"/>
                <a:gd name="connsiteX15" fmla="*/ 416891 w 415260"/>
                <a:gd name="connsiteY15" fmla="*/ 213706 h 521881"/>
                <a:gd name="connsiteX16" fmla="*/ 371998 w 415260"/>
                <a:gd name="connsiteY16" fmla="*/ 360225 h 521881"/>
                <a:gd name="connsiteX17" fmla="*/ 265377 w 415260"/>
                <a:gd name="connsiteY17" fmla="*/ 420662 h 521881"/>
                <a:gd name="connsiteX18" fmla="*/ 207465 w 415260"/>
                <a:gd name="connsiteY18" fmla="*/ 403267 h 521881"/>
                <a:gd name="connsiteX19" fmla="*/ 195231 w 415260"/>
                <a:gd name="connsiteY19" fmla="*/ 437441 h 521881"/>
                <a:gd name="connsiteX20" fmla="*/ 127892 w 415260"/>
                <a:gd name="connsiteY20" fmla="*/ 513704 h 521881"/>
                <a:gd name="connsiteX21" fmla="*/ 90463 w 415260"/>
                <a:gd name="connsiteY21" fmla="*/ 521616 h 521881"/>
                <a:gd name="connsiteX22" fmla="*/ 102133 w 415260"/>
                <a:gd name="connsiteY22" fmla="*/ 167802 h 521881"/>
                <a:gd name="connsiteX23" fmla="*/ 104475 w 415260"/>
                <a:gd name="connsiteY23" fmla="*/ 168292 h 521881"/>
                <a:gd name="connsiteX24" fmla="*/ 106399 w 415260"/>
                <a:gd name="connsiteY24" fmla="*/ 169710 h 521881"/>
                <a:gd name="connsiteX25" fmla="*/ 107701 w 415260"/>
                <a:gd name="connsiteY25" fmla="*/ 172371 h 521881"/>
                <a:gd name="connsiteX26" fmla="*/ 107466 w 415260"/>
                <a:gd name="connsiteY26" fmla="*/ 175322 h 521881"/>
                <a:gd name="connsiteX27" fmla="*/ 16892 w 415260"/>
                <a:gd name="connsiteY27" fmla="*/ 428967 h 521881"/>
                <a:gd name="connsiteX28" fmla="*/ 18279 w 415260"/>
                <a:gd name="connsiteY28" fmla="*/ 469638 h 521881"/>
                <a:gd name="connsiteX29" fmla="*/ 47085 w 415260"/>
                <a:gd name="connsiteY29" fmla="*/ 498384 h 521881"/>
                <a:gd name="connsiteX30" fmla="*/ 60777 w 415260"/>
                <a:gd name="connsiteY30" fmla="*/ 503995 h 521881"/>
                <a:gd name="connsiteX31" fmla="*/ 92035 w 415260"/>
                <a:gd name="connsiteY31" fmla="*/ 510095 h 521881"/>
                <a:gd name="connsiteX32" fmla="*/ 123122 w 415260"/>
                <a:gd name="connsiteY32" fmla="*/ 503154 h 521881"/>
                <a:gd name="connsiteX33" fmla="*/ 184345 w 415260"/>
                <a:gd name="connsiteY33" fmla="*/ 433401 h 521881"/>
                <a:gd name="connsiteX34" fmla="*/ 198935 w 415260"/>
                <a:gd name="connsiteY34" fmla="*/ 392492 h 521881"/>
                <a:gd name="connsiteX35" fmla="*/ 200321 w 415260"/>
                <a:gd name="connsiteY35" fmla="*/ 390361 h 521881"/>
                <a:gd name="connsiteX36" fmla="*/ 202510 w 415260"/>
                <a:gd name="connsiteY36" fmla="*/ 389061 h 521881"/>
                <a:gd name="connsiteX37" fmla="*/ 205046 w 415260"/>
                <a:gd name="connsiteY37" fmla="*/ 388860 h 521881"/>
                <a:gd name="connsiteX38" fmla="*/ 207409 w 415260"/>
                <a:gd name="connsiteY38" fmla="*/ 389798 h 521881"/>
                <a:gd name="connsiteX39" fmla="*/ 265208 w 415260"/>
                <a:gd name="connsiteY39" fmla="*/ 409158 h 521881"/>
                <a:gd name="connsiteX40" fmla="*/ 266611 w 415260"/>
                <a:gd name="connsiteY40" fmla="*/ 409158 h 521881"/>
                <a:gd name="connsiteX41" fmla="*/ 362682 w 415260"/>
                <a:gd name="connsiteY41" fmla="*/ 353042 h 521881"/>
                <a:gd name="connsiteX42" fmla="*/ 405667 w 415260"/>
                <a:gd name="connsiteY42" fmla="*/ 212752 h 521881"/>
                <a:gd name="connsiteX43" fmla="*/ 270988 w 415260"/>
                <a:gd name="connsiteY43" fmla="*/ 12922 h 521881"/>
                <a:gd name="connsiteX44" fmla="*/ 156175 w 415260"/>
                <a:gd name="connsiteY44" fmla="*/ 97545 h 521881"/>
                <a:gd name="connsiteX45" fmla="*/ 153094 w 415260"/>
                <a:gd name="connsiteY45" fmla="*/ 100336 h 521881"/>
                <a:gd name="connsiteX46" fmla="*/ 148936 w 415260"/>
                <a:gd name="connsiteY46" fmla="*/ 100238 h 521881"/>
                <a:gd name="connsiteX47" fmla="*/ 148374 w 415260"/>
                <a:gd name="connsiteY47" fmla="*/ 99958 h 521881"/>
                <a:gd name="connsiteX48" fmla="*/ 146090 w 415260"/>
                <a:gd name="connsiteY48" fmla="*/ 98164 h 521881"/>
                <a:gd name="connsiteX49" fmla="*/ 145007 w 415260"/>
                <a:gd name="connsiteY49" fmla="*/ 95469 h 521881"/>
                <a:gd name="connsiteX50" fmla="*/ 109654 w 415260"/>
                <a:gd name="connsiteY50" fmla="*/ 50576 h 521881"/>
                <a:gd name="connsiteX51" fmla="*/ 51348 w 415260"/>
                <a:gd name="connsiteY51" fmla="*/ 96423 h 521881"/>
                <a:gd name="connsiteX52" fmla="*/ 49537 w 415260"/>
                <a:gd name="connsiteY52" fmla="*/ 122629 h 521881"/>
                <a:gd name="connsiteX53" fmla="*/ 58026 w 415260"/>
                <a:gd name="connsiteY53" fmla="*/ 147488 h 521881"/>
                <a:gd name="connsiteX54" fmla="*/ 69309 w 415260"/>
                <a:gd name="connsiteY54" fmla="*/ 160062 h 521881"/>
                <a:gd name="connsiteX55" fmla="*/ 84626 w 415260"/>
                <a:gd name="connsiteY55" fmla="*/ 167186 h 521881"/>
                <a:gd name="connsiteX56" fmla="*/ 101067 w 415260"/>
                <a:gd name="connsiteY56" fmla="*/ 167186 h 521881"/>
                <a:gd name="connsiteX57" fmla="*/ 102133 w 415260"/>
                <a:gd name="connsiteY57" fmla="*/ 167802 h 52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15260" h="521881">
                  <a:moveTo>
                    <a:pt x="90463" y="521616"/>
                  </a:moveTo>
                  <a:cubicBezTo>
                    <a:pt x="78713" y="521616"/>
                    <a:pt x="67084" y="519231"/>
                    <a:pt x="56286" y="514601"/>
                  </a:cubicBezTo>
                  <a:lnTo>
                    <a:pt x="42651" y="508709"/>
                  </a:lnTo>
                  <a:cubicBezTo>
                    <a:pt x="27148" y="501975"/>
                    <a:pt x="14774" y="489613"/>
                    <a:pt x="8025" y="474119"/>
                  </a:cubicBezTo>
                  <a:cubicBezTo>
                    <a:pt x="1277" y="458623"/>
                    <a:pt x="657" y="441144"/>
                    <a:pt x="6289" y="425208"/>
                  </a:cubicBezTo>
                  <a:lnTo>
                    <a:pt x="93828" y="180092"/>
                  </a:lnTo>
                  <a:cubicBezTo>
                    <a:pt x="89924" y="180197"/>
                    <a:pt x="86024" y="179820"/>
                    <a:pt x="82212" y="178970"/>
                  </a:cubicBezTo>
                  <a:cubicBezTo>
                    <a:pt x="75226" y="177334"/>
                    <a:pt x="68643" y="174305"/>
                    <a:pt x="62857" y="170062"/>
                  </a:cubicBezTo>
                  <a:cubicBezTo>
                    <a:pt x="57071" y="165819"/>
                    <a:pt x="52202" y="160450"/>
                    <a:pt x="48542" y="154278"/>
                  </a:cubicBezTo>
                  <a:cubicBezTo>
                    <a:pt x="43293" y="145364"/>
                    <a:pt x="39879" y="135489"/>
                    <a:pt x="38500" y="125235"/>
                  </a:cubicBezTo>
                  <a:cubicBezTo>
                    <a:pt x="37122" y="114981"/>
                    <a:pt x="37807" y="104556"/>
                    <a:pt x="40517" y="94571"/>
                  </a:cubicBezTo>
                  <a:cubicBezTo>
                    <a:pt x="49608" y="58320"/>
                    <a:pt x="81652" y="34077"/>
                    <a:pt x="112011" y="40419"/>
                  </a:cubicBezTo>
                  <a:cubicBezTo>
                    <a:pt x="121809" y="42797"/>
                    <a:pt x="130793" y="47758"/>
                    <a:pt x="138027" y="54785"/>
                  </a:cubicBezTo>
                  <a:cubicBezTo>
                    <a:pt x="145260" y="61811"/>
                    <a:pt x="150484" y="70647"/>
                    <a:pt x="153144" y="80374"/>
                  </a:cubicBezTo>
                  <a:cubicBezTo>
                    <a:pt x="181932" y="30655"/>
                    <a:pt x="225254" y="1811"/>
                    <a:pt x="270988" y="2484"/>
                  </a:cubicBezTo>
                  <a:cubicBezTo>
                    <a:pt x="353030" y="3662"/>
                    <a:pt x="418406" y="98443"/>
                    <a:pt x="416891" y="213706"/>
                  </a:cubicBezTo>
                  <a:cubicBezTo>
                    <a:pt x="416049" y="269205"/>
                    <a:pt x="400056" y="321224"/>
                    <a:pt x="371998" y="360225"/>
                  </a:cubicBezTo>
                  <a:cubicBezTo>
                    <a:pt x="343940" y="399226"/>
                    <a:pt x="305275" y="421223"/>
                    <a:pt x="265377" y="420662"/>
                  </a:cubicBezTo>
                  <a:cubicBezTo>
                    <a:pt x="244838" y="420297"/>
                    <a:pt x="224799" y="414278"/>
                    <a:pt x="207465" y="403267"/>
                  </a:cubicBezTo>
                  <a:lnTo>
                    <a:pt x="195231" y="437441"/>
                  </a:lnTo>
                  <a:cubicBezTo>
                    <a:pt x="182605" y="472794"/>
                    <a:pt x="158083" y="500572"/>
                    <a:pt x="127892" y="513704"/>
                  </a:cubicBezTo>
                  <a:cubicBezTo>
                    <a:pt x="116096" y="518906"/>
                    <a:pt x="103352" y="521599"/>
                    <a:pt x="90463" y="521616"/>
                  </a:cubicBezTo>
                  <a:close/>
                  <a:moveTo>
                    <a:pt x="102133" y="167802"/>
                  </a:moveTo>
                  <a:cubicBezTo>
                    <a:pt x="102939" y="167796"/>
                    <a:pt x="103739" y="167962"/>
                    <a:pt x="104475" y="168292"/>
                  </a:cubicBezTo>
                  <a:cubicBezTo>
                    <a:pt x="105211" y="168621"/>
                    <a:pt x="105867" y="169105"/>
                    <a:pt x="106399" y="169710"/>
                  </a:cubicBezTo>
                  <a:cubicBezTo>
                    <a:pt x="107063" y="170465"/>
                    <a:pt x="107511" y="171384"/>
                    <a:pt x="107701" y="172371"/>
                  </a:cubicBezTo>
                  <a:cubicBezTo>
                    <a:pt x="107887" y="173358"/>
                    <a:pt x="107808" y="174377"/>
                    <a:pt x="107466" y="175322"/>
                  </a:cubicBezTo>
                  <a:lnTo>
                    <a:pt x="16892" y="428967"/>
                  </a:lnTo>
                  <a:cubicBezTo>
                    <a:pt x="12177" y="442209"/>
                    <a:pt x="12673" y="456748"/>
                    <a:pt x="18279" y="469638"/>
                  </a:cubicBezTo>
                  <a:cubicBezTo>
                    <a:pt x="23885" y="482525"/>
                    <a:pt x="34184" y="492806"/>
                    <a:pt x="47085" y="498384"/>
                  </a:cubicBezTo>
                  <a:lnTo>
                    <a:pt x="60777" y="503995"/>
                  </a:lnTo>
                  <a:cubicBezTo>
                    <a:pt x="70665" y="508165"/>
                    <a:pt x="81306" y="510241"/>
                    <a:pt x="92035" y="510095"/>
                  </a:cubicBezTo>
                  <a:cubicBezTo>
                    <a:pt x="102765" y="509949"/>
                    <a:pt x="113352" y="507587"/>
                    <a:pt x="123122" y="503154"/>
                  </a:cubicBezTo>
                  <a:cubicBezTo>
                    <a:pt x="150451" y="491257"/>
                    <a:pt x="172785" y="465836"/>
                    <a:pt x="184345" y="433401"/>
                  </a:cubicBezTo>
                  <a:lnTo>
                    <a:pt x="198935" y="392492"/>
                  </a:lnTo>
                  <a:cubicBezTo>
                    <a:pt x="199227" y="391684"/>
                    <a:pt x="199704" y="390955"/>
                    <a:pt x="200321" y="390361"/>
                  </a:cubicBezTo>
                  <a:cubicBezTo>
                    <a:pt x="200944" y="389766"/>
                    <a:pt x="201690" y="389321"/>
                    <a:pt x="202510" y="389061"/>
                  </a:cubicBezTo>
                  <a:cubicBezTo>
                    <a:pt x="203329" y="388801"/>
                    <a:pt x="204193" y="388732"/>
                    <a:pt x="205046" y="388860"/>
                  </a:cubicBezTo>
                  <a:cubicBezTo>
                    <a:pt x="205894" y="388987"/>
                    <a:pt x="206702" y="389309"/>
                    <a:pt x="207409" y="389798"/>
                  </a:cubicBezTo>
                  <a:cubicBezTo>
                    <a:pt x="224272" y="401953"/>
                    <a:pt x="244423" y="408704"/>
                    <a:pt x="265208" y="409158"/>
                  </a:cubicBezTo>
                  <a:lnTo>
                    <a:pt x="266611" y="409158"/>
                  </a:lnTo>
                  <a:cubicBezTo>
                    <a:pt x="302470" y="409158"/>
                    <a:pt x="336532" y="389406"/>
                    <a:pt x="362682" y="353042"/>
                  </a:cubicBezTo>
                  <a:cubicBezTo>
                    <a:pt x="389618" y="315949"/>
                    <a:pt x="404882" y="266230"/>
                    <a:pt x="405667" y="212752"/>
                  </a:cubicBezTo>
                  <a:cubicBezTo>
                    <a:pt x="407239" y="103662"/>
                    <a:pt x="346801" y="13988"/>
                    <a:pt x="270988" y="12922"/>
                  </a:cubicBezTo>
                  <a:cubicBezTo>
                    <a:pt x="225759" y="11968"/>
                    <a:pt x="182718" y="43898"/>
                    <a:pt x="156175" y="97545"/>
                  </a:cubicBezTo>
                  <a:cubicBezTo>
                    <a:pt x="155540" y="98836"/>
                    <a:pt x="154441" y="99834"/>
                    <a:pt x="153094" y="100336"/>
                  </a:cubicBezTo>
                  <a:cubicBezTo>
                    <a:pt x="151747" y="100837"/>
                    <a:pt x="150260" y="100802"/>
                    <a:pt x="148936" y="100238"/>
                  </a:cubicBezTo>
                  <a:lnTo>
                    <a:pt x="148374" y="99958"/>
                  </a:lnTo>
                  <a:cubicBezTo>
                    <a:pt x="147465" y="99571"/>
                    <a:pt x="146680" y="98953"/>
                    <a:pt x="146090" y="98164"/>
                  </a:cubicBezTo>
                  <a:cubicBezTo>
                    <a:pt x="145496" y="97377"/>
                    <a:pt x="145125" y="96447"/>
                    <a:pt x="145007" y="95469"/>
                  </a:cubicBezTo>
                  <a:cubicBezTo>
                    <a:pt x="142314" y="72181"/>
                    <a:pt x="128453" y="54560"/>
                    <a:pt x="109654" y="50576"/>
                  </a:cubicBezTo>
                  <a:cubicBezTo>
                    <a:pt x="85075" y="45413"/>
                    <a:pt x="59148" y="66008"/>
                    <a:pt x="51348" y="96423"/>
                  </a:cubicBezTo>
                  <a:cubicBezTo>
                    <a:pt x="49007" y="104951"/>
                    <a:pt x="48391" y="113860"/>
                    <a:pt x="49537" y="122629"/>
                  </a:cubicBezTo>
                  <a:cubicBezTo>
                    <a:pt x="50684" y="131398"/>
                    <a:pt x="53570" y="139850"/>
                    <a:pt x="58026" y="147488"/>
                  </a:cubicBezTo>
                  <a:cubicBezTo>
                    <a:pt x="60898" y="152399"/>
                    <a:pt x="64738" y="156676"/>
                    <a:pt x="69309" y="160062"/>
                  </a:cubicBezTo>
                  <a:cubicBezTo>
                    <a:pt x="73881" y="163447"/>
                    <a:pt x="79092" y="165870"/>
                    <a:pt x="84626" y="167186"/>
                  </a:cubicBezTo>
                  <a:cubicBezTo>
                    <a:pt x="90044" y="168363"/>
                    <a:pt x="95649" y="168363"/>
                    <a:pt x="101067" y="167186"/>
                  </a:cubicBezTo>
                  <a:lnTo>
                    <a:pt x="102133" y="167802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123">
              <a:extLst>
                <a:ext uri="{FF2B5EF4-FFF2-40B4-BE49-F238E27FC236}">
                  <a16:creationId xmlns:a16="http://schemas.microsoft.com/office/drawing/2014/main" id="{3AEDAE6A-8DD4-0284-A178-E1D8C7764FDC}"/>
                </a:ext>
              </a:extLst>
            </p:cNvPr>
            <p:cNvSpPr/>
            <p:nvPr/>
          </p:nvSpPr>
          <p:spPr>
            <a:xfrm>
              <a:off x="3632272" y="5406399"/>
              <a:ext cx="78563" cy="106621"/>
            </a:xfrm>
            <a:custGeom>
              <a:avLst/>
              <a:gdLst>
                <a:gd name="connsiteX0" fmla="*/ 70535 w 78562"/>
                <a:gd name="connsiteY0" fmla="*/ 107096 h 106620"/>
                <a:gd name="connsiteX1" fmla="*/ 67224 w 78562"/>
                <a:gd name="connsiteY1" fmla="*/ 105973 h 106620"/>
                <a:gd name="connsiteX2" fmla="*/ 2746 w 78562"/>
                <a:gd name="connsiteY2" fmla="*/ 9847 h 106620"/>
                <a:gd name="connsiteX3" fmla="*/ 3089 w 78562"/>
                <a:gd name="connsiteY3" fmla="*/ 5548 h 106620"/>
                <a:gd name="connsiteX4" fmla="*/ 6366 w 78562"/>
                <a:gd name="connsiteY4" fmla="*/ 2748 h 106620"/>
                <a:gd name="connsiteX5" fmla="*/ 10664 w 78562"/>
                <a:gd name="connsiteY5" fmla="*/ 3088 h 106620"/>
                <a:gd name="connsiteX6" fmla="*/ 13465 w 78562"/>
                <a:gd name="connsiteY6" fmla="*/ 6367 h 106620"/>
                <a:gd name="connsiteX7" fmla="*/ 73902 w 78562"/>
                <a:gd name="connsiteY7" fmla="*/ 96995 h 106620"/>
                <a:gd name="connsiteX8" fmla="*/ 75378 w 78562"/>
                <a:gd name="connsiteY8" fmla="*/ 98616 h 106620"/>
                <a:gd name="connsiteX9" fmla="*/ 76124 w 78562"/>
                <a:gd name="connsiteY9" fmla="*/ 100679 h 106620"/>
                <a:gd name="connsiteX10" fmla="*/ 76017 w 78562"/>
                <a:gd name="connsiteY10" fmla="*/ 102869 h 106620"/>
                <a:gd name="connsiteX11" fmla="*/ 75080 w 78562"/>
                <a:gd name="connsiteY11" fmla="*/ 104851 h 106620"/>
                <a:gd name="connsiteX12" fmla="*/ 73077 w 78562"/>
                <a:gd name="connsiteY12" fmla="*/ 106516 h 106620"/>
                <a:gd name="connsiteX13" fmla="*/ 70535 w 78562"/>
                <a:gd name="connsiteY13" fmla="*/ 107096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562" h="106620">
                  <a:moveTo>
                    <a:pt x="70535" y="107096"/>
                  </a:moveTo>
                  <a:cubicBezTo>
                    <a:pt x="69339" y="107084"/>
                    <a:pt x="68184" y="106690"/>
                    <a:pt x="67224" y="105973"/>
                  </a:cubicBezTo>
                  <a:cubicBezTo>
                    <a:pt x="39166" y="84874"/>
                    <a:pt x="16102" y="50699"/>
                    <a:pt x="2746" y="9847"/>
                  </a:cubicBezTo>
                  <a:cubicBezTo>
                    <a:pt x="2286" y="8425"/>
                    <a:pt x="2410" y="6879"/>
                    <a:pt x="3089" y="5548"/>
                  </a:cubicBezTo>
                  <a:cubicBezTo>
                    <a:pt x="3768" y="4217"/>
                    <a:pt x="4946" y="3209"/>
                    <a:pt x="6366" y="2748"/>
                  </a:cubicBezTo>
                  <a:cubicBezTo>
                    <a:pt x="7791" y="2286"/>
                    <a:pt x="9334" y="2409"/>
                    <a:pt x="10664" y="3088"/>
                  </a:cubicBezTo>
                  <a:cubicBezTo>
                    <a:pt x="11994" y="3766"/>
                    <a:pt x="13004" y="4946"/>
                    <a:pt x="13465" y="6367"/>
                  </a:cubicBezTo>
                  <a:cubicBezTo>
                    <a:pt x="26035" y="45087"/>
                    <a:pt x="47527" y="77242"/>
                    <a:pt x="73902" y="96995"/>
                  </a:cubicBezTo>
                  <a:cubicBezTo>
                    <a:pt x="74497" y="97433"/>
                    <a:pt x="74996" y="97983"/>
                    <a:pt x="75378" y="98616"/>
                  </a:cubicBezTo>
                  <a:cubicBezTo>
                    <a:pt x="75759" y="99248"/>
                    <a:pt x="76012" y="99949"/>
                    <a:pt x="76124" y="100679"/>
                  </a:cubicBezTo>
                  <a:cubicBezTo>
                    <a:pt x="76231" y="101408"/>
                    <a:pt x="76197" y="102153"/>
                    <a:pt x="76017" y="102869"/>
                  </a:cubicBezTo>
                  <a:cubicBezTo>
                    <a:pt x="75838" y="103585"/>
                    <a:pt x="75518" y="104258"/>
                    <a:pt x="75080" y="104851"/>
                  </a:cubicBezTo>
                  <a:cubicBezTo>
                    <a:pt x="74553" y="105556"/>
                    <a:pt x="73868" y="106126"/>
                    <a:pt x="73077" y="106516"/>
                  </a:cubicBezTo>
                  <a:cubicBezTo>
                    <a:pt x="72286" y="106906"/>
                    <a:pt x="71416" y="107105"/>
                    <a:pt x="70535" y="10709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124">
              <a:extLst>
                <a:ext uri="{FF2B5EF4-FFF2-40B4-BE49-F238E27FC236}">
                  <a16:creationId xmlns:a16="http://schemas.microsoft.com/office/drawing/2014/main" id="{4F786C18-DF51-0A13-F809-AEABE40228D9}"/>
                </a:ext>
              </a:extLst>
            </p:cNvPr>
            <p:cNvSpPr/>
            <p:nvPr/>
          </p:nvSpPr>
          <p:spPr>
            <a:xfrm>
              <a:off x="3774743" y="5434030"/>
              <a:ext cx="44893" cy="44893"/>
            </a:xfrm>
            <a:custGeom>
              <a:avLst/>
              <a:gdLst>
                <a:gd name="connsiteX0" fmla="*/ 35919 w 44893"/>
                <a:gd name="connsiteY0" fmla="*/ 46135 h 44893"/>
                <a:gd name="connsiteX1" fmla="*/ 2585 w 44893"/>
                <a:gd name="connsiteY1" fmla="*/ 9210 h 44893"/>
                <a:gd name="connsiteX2" fmla="*/ 2574 w 44893"/>
                <a:gd name="connsiteY2" fmla="*/ 7020 h 44893"/>
                <a:gd name="connsiteX3" fmla="*/ 3405 w 44893"/>
                <a:gd name="connsiteY3" fmla="*/ 4992 h 44893"/>
                <a:gd name="connsiteX4" fmla="*/ 4942 w 44893"/>
                <a:gd name="connsiteY4" fmla="*/ 3436 h 44893"/>
                <a:gd name="connsiteX5" fmla="*/ 6963 w 44893"/>
                <a:gd name="connsiteY5" fmla="*/ 2588 h 44893"/>
                <a:gd name="connsiteX6" fmla="*/ 11166 w 44893"/>
                <a:gd name="connsiteY6" fmla="*/ 3385 h 44893"/>
                <a:gd name="connsiteX7" fmla="*/ 13584 w 44893"/>
                <a:gd name="connsiteY7" fmla="*/ 6909 h 44893"/>
                <a:gd name="connsiteX8" fmla="*/ 37995 w 44893"/>
                <a:gd name="connsiteY8" fmla="*/ 34968 h 44893"/>
                <a:gd name="connsiteX9" fmla="*/ 40189 w 44893"/>
                <a:gd name="connsiteY9" fmla="*/ 35148 h 44893"/>
                <a:gd name="connsiteX10" fmla="*/ 42153 w 44893"/>
                <a:gd name="connsiteY10" fmla="*/ 36154 h 44893"/>
                <a:gd name="connsiteX11" fmla="*/ 43578 w 44893"/>
                <a:gd name="connsiteY11" fmla="*/ 37835 h 44893"/>
                <a:gd name="connsiteX12" fmla="*/ 44252 w 44893"/>
                <a:gd name="connsiteY12" fmla="*/ 39934 h 44893"/>
                <a:gd name="connsiteX13" fmla="*/ 44072 w 44893"/>
                <a:gd name="connsiteY13" fmla="*/ 42130 h 44893"/>
                <a:gd name="connsiteX14" fmla="*/ 43068 w 44893"/>
                <a:gd name="connsiteY14" fmla="*/ 44091 h 44893"/>
                <a:gd name="connsiteX15" fmla="*/ 41384 w 44893"/>
                <a:gd name="connsiteY15" fmla="*/ 45517 h 44893"/>
                <a:gd name="connsiteX16" fmla="*/ 39286 w 44893"/>
                <a:gd name="connsiteY16" fmla="*/ 46191 h 44893"/>
                <a:gd name="connsiteX17" fmla="*/ 35919 w 44893"/>
                <a:gd name="connsiteY17" fmla="*/ 46135 h 4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893" h="44893">
                  <a:moveTo>
                    <a:pt x="35919" y="46135"/>
                  </a:moveTo>
                  <a:cubicBezTo>
                    <a:pt x="10610" y="46135"/>
                    <a:pt x="2922" y="10781"/>
                    <a:pt x="2585" y="9210"/>
                  </a:cubicBezTo>
                  <a:cubicBezTo>
                    <a:pt x="2440" y="8488"/>
                    <a:pt x="2434" y="7744"/>
                    <a:pt x="2574" y="7020"/>
                  </a:cubicBezTo>
                  <a:cubicBezTo>
                    <a:pt x="2715" y="6297"/>
                    <a:pt x="2995" y="5608"/>
                    <a:pt x="3405" y="4992"/>
                  </a:cubicBezTo>
                  <a:cubicBezTo>
                    <a:pt x="3809" y="4377"/>
                    <a:pt x="4331" y="3849"/>
                    <a:pt x="4942" y="3436"/>
                  </a:cubicBezTo>
                  <a:cubicBezTo>
                    <a:pt x="5554" y="3024"/>
                    <a:pt x="6239" y="2735"/>
                    <a:pt x="6963" y="2588"/>
                  </a:cubicBezTo>
                  <a:cubicBezTo>
                    <a:pt x="8416" y="2289"/>
                    <a:pt x="9925" y="2575"/>
                    <a:pt x="11166" y="3385"/>
                  </a:cubicBezTo>
                  <a:cubicBezTo>
                    <a:pt x="12406" y="4194"/>
                    <a:pt x="13276" y="5461"/>
                    <a:pt x="13584" y="6909"/>
                  </a:cubicBezTo>
                  <a:cubicBezTo>
                    <a:pt x="13584" y="7246"/>
                    <a:pt x="20262" y="36988"/>
                    <a:pt x="37995" y="34968"/>
                  </a:cubicBezTo>
                  <a:cubicBezTo>
                    <a:pt x="38736" y="34883"/>
                    <a:pt x="39476" y="34944"/>
                    <a:pt x="40189" y="35148"/>
                  </a:cubicBezTo>
                  <a:cubicBezTo>
                    <a:pt x="40907" y="35351"/>
                    <a:pt x="41575" y="35694"/>
                    <a:pt x="42153" y="36154"/>
                  </a:cubicBezTo>
                  <a:cubicBezTo>
                    <a:pt x="42737" y="36616"/>
                    <a:pt x="43219" y="37187"/>
                    <a:pt x="43578" y="37835"/>
                  </a:cubicBezTo>
                  <a:cubicBezTo>
                    <a:pt x="43938" y="38484"/>
                    <a:pt x="44168" y="39197"/>
                    <a:pt x="44252" y="39934"/>
                  </a:cubicBezTo>
                  <a:cubicBezTo>
                    <a:pt x="44336" y="40671"/>
                    <a:pt x="44280" y="41417"/>
                    <a:pt x="44072" y="42130"/>
                  </a:cubicBezTo>
                  <a:cubicBezTo>
                    <a:pt x="43870" y="42843"/>
                    <a:pt x="43528" y="43510"/>
                    <a:pt x="43068" y="44091"/>
                  </a:cubicBezTo>
                  <a:cubicBezTo>
                    <a:pt x="42608" y="44672"/>
                    <a:pt x="42035" y="45157"/>
                    <a:pt x="41384" y="45517"/>
                  </a:cubicBezTo>
                  <a:cubicBezTo>
                    <a:pt x="40739" y="45877"/>
                    <a:pt x="40026" y="46106"/>
                    <a:pt x="39286" y="46191"/>
                  </a:cubicBezTo>
                  <a:cubicBezTo>
                    <a:pt x="38163" y="46254"/>
                    <a:pt x="37041" y="46235"/>
                    <a:pt x="35919" y="4613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125">
              <a:extLst>
                <a:ext uri="{FF2B5EF4-FFF2-40B4-BE49-F238E27FC236}">
                  <a16:creationId xmlns:a16="http://schemas.microsoft.com/office/drawing/2014/main" id="{4ADDFADA-A46F-2B14-B88E-0B1B5941EEF7}"/>
                </a:ext>
              </a:extLst>
            </p:cNvPr>
            <p:cNvSpPr/>
            <p:nvPr/>
          </p:nvSpPr>
          <p:spPr>
            <a:xfrm>
              <a:off x="3867812" y="5326094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126">
              <a:extLst>
                <a:ext uri="{FF2B5EF4-FFF2-40B4-BE49-F238E27FC236}">
                  <a16:creationId xmlns:a16="http://schemas.microsoft.com/office/drawing/2014/main" id="{8658F17C-E753-AE1D-E9D3-7D2003B39BC0}"/>
                </a:ext>
              </a:extLst>
            </p:cNvPr>
            <p:cNvSpPr/>
            <p:nvPr/>
          </p:nvSpPr>
          <p:spPr>
            <a:xfrm>
              <a:off x="3728944" y="5265429"/>
              <a:ext cx="106621" cy="134679"/>
            </a:xfrm>
            <a:custGeom>
              <a:avLst/>
              <a:gdLst>
                <a:gd name="connsiteX0" fmla="*/ 49115 w 106620"/>
                <a:gd name="connsiteY0" fmla="*/ 136057 h 134679"/>
                <a:gd name="connsiteX1" fmla="*/ 41202 w 106620"/>
                <a:gd name="connsiteY1" fmla="*/ 135271 h 134679"/>
                <a:gd name="connsiteX2" fmla="*/ 21915 w 106620"/>
                <a:gd name="connsiteY2" fmla="*/ 125605 h 134679"/>
                <a:gd name="connsiteX3" fmla="*/ 9216 w 106620"/>
                <a:gd name="connsiteY3" fmla="*/ 108167 h 134679"/>
                <a:gd name="connsiteX4" fmla="*/ 4278 w 106620"/>
                <a:gd name="connsiteY4" fmla="*/ 59289 h 134679"/>
                <a:gd name="connsiteX5" fmla="*/ 67577 w 106620"/>
                <a:gd name="connsiteY5" fmla="*/ 3173 h 134679"/>
                <a:gd name="connsiteX6" fmla="*/ 104558 w 106620"/>
                <a:gd name="connsiteY6" fmla="*/ 79154 h 134679"/>
                <a:gd name="connsiteX7" fmla="*/ 81213 w 106620"/>
                <a:gd name="connsiteY7" fmla="*/ 122308 h 134679"/>
                <a:gd name="connsiteX8" fmla="*/ 49115 w 106620"/>
                <a:gd name="connsiteY8" fmla="*/ 136057 h 134679"/>
                <a:gd name="connsiteX9" fmla="*/ 59721 w 106620"/>
                <a:gd name="connsiteY9" fmla="*/ 13836 h 134679"/>
                <a:gd name="connsiteX10" fmla="*/ 15277 w 106620"/>
                <a:gd name="connsiteY10" fmla="*/ 61534 h 134679"/>
                <a:gd name="connsiteX11" fmla="*/ 19373 w 106620"/>
                <a:gd name="connsiteY11" fmla="*/ 103397 h 134679"/>
                <a:gd name="connsiteX12" fmla="*/ 28632 w 106620"/>
                <a:gd name="connsiteY12" fmla="*/ 117023 h 134679"/>
                <a:gd name="connsiteX13" fmla="*/ 43419 w 106620"/>
                <a:gd name="connsiteY13" fmla="*/ 124277 h 134679"/>
                <a:gd name="connsiteX14" fmla="*/ 59861 w 106620"/>
                <a:gd name="connsiteY14" fmla="*/ 123256 h 134679"/>
                <a:gd name="connsiteX15" fmla="*/ 73638 w 106620"/>
                <a:gd name="connsiteY15" fmla="*/ 114227 h 134679"/>
                <a:gd name="connsiteX16" fmla="*/ 93559 w 106620"/>
                <a:gd name="connsiteY16" fmla="*/ 77190 h 134679"/>
                <a:gd name="connsiteX17" fmla="*/ 65501 w 106620"/>
                <a:gd name="connsiteY17" fmla="*/ 14396 h 134679"/>
                <a:gd name="connsiteX18" fmla="*/ 59721 w 106620"/>
                <a:gd name="connsiteY18" fmla="*/ 13779 h 134679"/>
                <a:gd name="connsiteX19" fmla="*/ 59721 w 106620"/>
                <a:gd name="connsiteY19" fmla="*/ 13836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6620" h="134679">
                  <a:moveTo>
                    <a:pt x="49115" y="136057"/>
                  </a:moveTo>
                  <a:cubicBezTo>
                    <a:pt x="46460" y="136046"/>
                    <a:pt x="43806" y="135782"/>
                    <a:pt x="41202" y="135271"/>
                  </a:cubicBezTo>
                  <a:cubicBezTo>
                    <a:pt x="34092" y="133635"/>
                    <a:pt x="27482" y="130321"/>
                    <a:pt x="21915" y="125605"/>
                  </a:cubicBezTo>
                  <a:cubicBezTo>
                    <a:pt x="16354" y="120890"/>
                    <a:pt x="11999" y="114910"/>
                    <a:pt x="9216" y="108167"/>
                  </a:cubicBezTo>
                  <a:cubicBezTo>
                    <a:pt x="2448" y="92805"/>
                    <a:pt x="720" y="75694"/>
                    <a:pt x="4278" y="59289"/>
                  </a:cubicBezTo>
                  <a:cubicBezTo>
                    <a:pt x="11573" y="22982"/>
                    <a:pt x="39968" y="-2102"/>
                    <a:pt x="67577" y="3173"/>
                  </a:cubicBezTo>
                  <a:cubicBezTo>
                    <a:pt x="95186" y="8448"/>
                    <a:pt x="111797" y="42791"/>
                    <a:pt x="104558" y="79154"/>
                  </a:cubicBezTo>
                  <a:cubicBezTo>
                    <a:pt x="101522" y="95641"/>
                    <a:pt x="93351" y="110746"/>
                    <a:pt x="81213" y="122308"/>
                  </a:cubicBezTo>
                  <a:cubicBezTo>
                    <a:pt x="72627" y="130764"/>
                    <a:pt x="61163" y="135673"/>
                    <a:pt x="49115" y="136057"/>
                  </a:cubicBezTo>
                  <a:close/>
                  <a:moveTo>
                    <a:pt x="59721" y="13836"/>
                  </a:moveTo>
                  <a:cubicBezTo>
                    <a:pt x="40024" y="13836"/>
                    <a:pt x="20832" y="33869"/>
                    <a:pt x="15277" y="61534"/>
                  </a:cubicBezTo>
                  <a:cubicBezTo>
                    <a:pt x="12207" y="75572"/>
                    <a:pt x="13644" y="90220"/>
                    <a:pt x="19373" y="103397"/>
                  </a:cubicBezTo>
                  <a:cubicBezTo>
                    <a:pt x="21225" y="108666"/>
                    <a:pt x="24412" y="113362"/>
                    <a:pt x="28632" y="117023"/>
                  </a:cubicBezTo>
                  <a:cubicBezTo>
                    <a:pt x="32847" y="120684"/>
                    <a:pt x="37942" y="123185"/>
                    <a:pt x="43419" y="124277"/>
                  </a:cubicBezTo>
                  <a:cubicBezTo>
                    <a:pt x="48896" y="125371"/>
                    <a:pt x="54564" y="125019"/>
                    <a:pt x="59861" y="123256"/>
                  </a:cubicBezTo>
                  <a:cubicBezTo>
                    <a:pt x="65158" y="121494"/>
                    <a:pt x="69906" y="118382"/>
                    <a:pt x="73638" y="114227"/>
                  </a:cubicBezTo>
                  <a:cubicBezTo>
                    <a:pt x="84008" y="104282"/>
                    <a:pt x="90977" y="91323"/>
                    <a:pt x="93559" y="77190"/>
                  </a:cubicBezTo>
                  <a:cubicBezTo>
                    <a:pt x="99563" y="46888"/>
                    <a:pt x="86993" y="18717"/>
                    <a:pt x="65501" y="14396"/>
                  </a:cubicBezTo>
                  <a:cubicBezTo>
                    <a:pt x="63598" y="14015"/>
                    <a:pt x="61662" y="13808"/>
                    <a:pt x="59721" y="13779"/>
                  </a:cubicBezTo>
                  <a:lnTo>
                    <a:pt x="59721" y="13836"/>
                  </a:ln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127">
              <a:extLst>
                <a:ext uri="{FF2B5EF4-FFF2-40B4-BE49-F238E27FC236}">
                  <a16:creationId xmlns:a16="http://schemas.microsoft.com/office/drawing/2014/main" id="{F3A829E4-403B-561D-2EC9-639D6BFCB02A}"/>
                </a:ext>
              </a:extLst>
            </p:cNvPr>
            <p:cNvSpPr/>
            <p:nvPr/>
          </p:nvSpPr>
          <p:spPr>
            <a:xfrm>
              <a:off x="3845247" y="5288807"/>
              <a:ext cx="106621" cy="134679"/>
            </a:xfrm>
            <a:custGeom>
              <a:avLst/>
              <a:gdLst>
                <a:gd name="connsiteX0" fmla="*/ 49028 w 106620"/>
                <a:gd name="connsiteY0" fmla="*/ 135912 h 134679"/>
                <a:gd name="connsiteX1" fmla="*/ 41115 w 106620"/>
                <a:gd name="connsiteY1" fmla="*/ 135126 h 134679"/>
                <a:gd name="connsiteX2" fmla="*/ 4191 w 106620"/>
                <a:gd name="connsiteY2" fmla="*/ 59201 h 134679"/>
                <a:gd name="connsiteX3" fmla="*/ 27535 w 106620"/>
                <a:gd name="connsiteY3" fmla="*/ 15991 h 134679"/>
                <a:gd name="connsiteX4" fmla="*/ 45880 w 106620"/>
                <a:gd name="connsiteY4" fmla="*/ 4500 h 134679"/>
                <a:gd name="connsiteX5" fmla="*/ 67496 w 106620"/>
                <a:gd name="connsiteY5" fmla="*/ 3318 h 134679"/>
                <a:gd name="connsiteX6" fmla="*/ 86979 w 106620"/>
                <a:gd name="connsiteY6" fmla="*/ 12739 h 134679"/>
                <a:gd name="connsiteX7" fmla="*/ 99476 w 106620"/>
                <a:gd name="connsiteY7" fmla="*/ 30413 h 134679"/>
                <a:gd name="connsiteX8" fmla="*/ 104471 w 106620"/>
                <a:gd name="connsiteY8" fmla="*/ 79234 h 134679"/>
                <a:gd name="connsiteX9" fmla="*/ 81126 w 106620"/>
                <a:gd name="connsiteY9" fmla="*/ 122444 h 134679"/>
                <a:gd name="connsiteX10" fmla="*/ 49028 w 106620"/>
                <a:gd name="connsiteY10" fmla="*/ 135912 h 134679"/>
                <a:gd name="connsiteX11" fmla="*/ 59690 w 106620"/>
                <a:gd name="connsiteY11" fmla="*/ 13747 h 134679"/>
                <a:gd name="connsiteX12" fmla="*/ 35111 w 106620"/>
                <a:gd name="connsiteY12" fmla="*/ 24353 h 134679"/>
                <a:gd name="connsiteX13" fmla="*/ 15190 w 106620"/>
                <a:gd name="connsiteY13" fmla="*/ 61389 h 134679"/>
                <a:gd name="connsiteX14" fmla="*/ 43248 w 106620"/>
                <a:gd name="connsiteY14" fmla="*/ 124127 h 134679"/>
                <a:gd name="connsiteX15" fmla="*/ 59589 w 106620"/>
                <a:gd name="connsiteY15" fmla="*/ 122772 h 134679"/>
                <a:gd name="connsiteX16" fmla="*/ 73495 w 106620"/>
                <a:gd name="connsiteY16" fmla="*/ 114083 h 134679"/>
                <a:gd name="connsiteX17" fmla="*/ 93360 w 106620"/>
                <a:gd name="connsiteY17" fmla="*/ 77028 h 134679"/>
                <a:gd name="connsiteX18" fmla="*/ 89263 w 106620"/>
                <a:gd name="connsiteY18" fmla="*/ 35183 h 134679"/>
                <a:gd name="connsiteX19" fmla="*/ 79791 w 106620"/>
                <a:gd name="connsiteY19" fmla="*/ 21829 h 134679"/>
                <a:gd name="connsiteX20" fmla="*/ 65246 w 106620"/>
                <a:gd name="connsiteY20" fmla="*/ 14308 h 134679"/>
                <a:gd name="connsiteX21" fmla="*/ 59690 w 106620"/>
                <a:gd name="connsiteY21" fmla="*/ 13747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620" h="134679">
                  <a:moveTo>
                    <a:pt x="49028" y="135912"/>
                  </a:moveTo>
                  <a:cubicBezTo>
                    <a:pt x="46368" y="135929"/>
                    <a:pt x="43719" y="135666"/>
                    <a:pt x="41115" y="135126"/>
                  </a:cubicBezTo>
                  <a:cubicBezTo>
                    <a:pt x="13506" y="129515"/>
                    <a:pt x="-3104" y="95564"/>
                    <a:pt x="4191" y="59201"/>
                  </a:cubicBezTo>
                  <a:cubicBezTo>
                    <a:pt x="7204" y="42690"/>
                    <a:pt x="15375" y="27561"/>
                    <a:pt x="27535" y="15991"/>
                  </a:cubicBezTo>
                  <a:cubicBezTo>
                    <a:pt x="32580" y="10670"/>
                    <a:pt x="38893" y="6717"/>
                    <a:pt x="45880" y="4500"/>
                  </a:cubicBezTo>
                  <a:cubicBezTo>
                    <a:pt x="52866" y="2283"/>
                    <a:pt x="60307" y="1877"/>
                    <a:pt x="67496" y="3318"/>
                  </a:cubicBezTo>
                  <a:cubicBezTo>
                    <a:pt x="74684" y="4759"/>
                    <a:pt x="81385" y="8000"/>
                    <a:pt x="86979" y="12739"/>
                  </a:cubicBezTo>
                  <a:cubicBezTo>
                    <a:pt x="92574" y="17479"/>
                    <a:pt x="96873" y="23560"/>
                    <a:pt x="99476" y="30413"/>
                  </a:cubicBezTo>
                  <a:cubicBezTo>
                    <a:pt x="106261" y="45750"/>
                    <a:pt x="108006" y="62842"/>
                    <a:pt x="104471" y="79234"/>
                  </a:cubicBezTo>
                  <a:cubicBezTo>
                    <a:pt x="101435" y="95738"/>
                    <a:pt x="93270" y="110860"/>
                    <a:pt x="81126" y="122444"/>
                  </a:cubicBezTo>
                  <a:cubicBezTo>
                    <a:pt x="72496" y="130802"/>
                    <a:pt x="61037" y="135610"/>
                    <a:pt x="49028" y="135912"/>
                  </a:cubicBezTo>
                  <a:close/>
                  <a:moveTo>
                    <a:pt x="59690" y="13747"/>
                  </a:moveTo>
                  <a:cubicBezTo>
                    <a:pt x="50459" y="14073"/>
                    <a:pt x="41682" y="17858"/>
                    <a:pt x="35111" y="24353"/>
                  </a:cubicBezTo>
                  <a:cubicBezTo>
                    <a:pt x="24718" y="34277"/>
                    <a:pt x="17743" y="47246"/>
                    <a:pt x="15190" y="61389"/>
                  </a:cubicBezTo>
                  <a:cubicBezTo>
                    <a:pt x="9129" y="91692"/>
                    <a:pt x="21755" y="119806"/>
                    <a:pt x="43248" y="124127"/>
                  </a:cubicBezTo>
                  <a:cubicBezTo>
                    <a:pt x="48725" y="124984"/>
                    <a:pt x="54331" y="124520"/>
                    <a:pt x="59589" y="122772"/>
                  </a:cubicBezTo>
                  <a:cubicBezTo>
                    <a:pt x="64853" y="121025"/>
                    <a:pt x="69617" y="118046"/>
                    <a:pt x="73495" y="114083"/>
                  </a:cubicBezTo>
                  <a:cubicBezTo>
                    <a:pt x="83640" y="103971"/>
                    <a:pt x="90554" y="91074"/>
                    <a:pt x="93360" y="77028"/>
                  </a:cubicBezTo>
                  <a:cubicBezTo>
                    <a:pt x="96171" y="62981"/>
                    <a:pt x="94740" y="48418"/>
                    <a:pt x="89263" y="35183"/>
                  </a:cubicBezTo>
                  <a:cubicBezTo>
                    <a:pt x="87215" y="30040"/>
                    <a:pt x="83972" y="25460"/>
                    <a:pt x="79791" y="21829"/>
                  </a:cubicBezTo>
                  <a:cubicBezTo>
                    <a:pt x="75610" y="18197"/>
                    <a:pt x="70627" y="15618"/>
                    <a:pt x="65246" y="14308"/>
                  </a:cubicBezTo>
                  <a:cubicBezTo>
                    <a:pt x="63422" y="13929"/>
                    <a:pt x="61559" y="13740"/>
                    <a:pt x="59690" y="13747"/>
                  </a:cubicBez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128">
              <a:extLst>
                <a:ext uri="{FF2B5EF4-FFF2-40B4-BE49-F238E27FC236}">
                  <a16:creationId xmlns:a16="http://schemas.microsoft.com/office/drawing/2014/main" id="{67AE2CA7-D67F-9501-240E-FA3EB451256D}"/>
                </a:ext>
              </a:extLst>
            </p:cNvPr>
            <p:cNvSpPr/>
            <p:nvPr/>
          </p:nvSpPr>
          <p:spPr>
            <a:xfrm>
              <a:off x="3826182" y="5349439"/>
              <a:ext cx="22447" cy="67340"/>
            </a:xfrm>
            <a:custGeom>
              <a:avLst/>
              <a:gdLst>
                <a:gd name="connsiteX0" fmla="*/ 8105 w 22446"/>
                <a:gd name="connsiteY0" fmla="*/ 69114 h 67339"/>
                <a:gd name="connsiteX1" fmla="*/ 5237 w 22446"/>
                <a:gd name="connsiteY1" fmla="*/ 68334 h 67339"/>
                <a:gd name="connsiteX2" fmla="*/ 3167 w 22446"/>
                <a:gd name="connsiteY2" fmla="*/ 66196 h 67339"/>
                <a:gd name="connsiteX3" fmla="*/ 2504 w 22446"/>
                <a:gd name="connsiteY3" fmla="*/ 64101 h 67339"/>
                <a:gd name="connsiteX4" fmla="*/ 2701 w 22446"/>
                <a:gd name="connsiteY4" fmla="*/ 61914 h 67339"/>
                <a:gd name="connsiteX5" fmla="*/ 3722 w 22446"/>
                <a:gd name="connsiteY5" fmla="*/ 59969 h 67339"/>
                <a:gd name="connsiteX6" fmla="*/ 5411 w 22446"/>
                <a:gd name="connsiteY6" fmla="*/ 58565 h 67339"/>
                <a:gd name="connsiteX7" fmla="*/ 10613 w 22446"/>
                <a:gd name="connsiteY7" fmla="*/ 53677 h 67339"/>
                <a:gd name="connsiteX8" fmla="*/ 12650 w 22446"/>
                <a:gd name="connsiteY8" fmla="*/ 46836 h 67339"/>
                <a:gd name="connsiteX9" fmla="*/ 13997 w 22446"/>
                <a:gd name="connsiteY9" fmla="*/ 7892 h 67339"/>
                <a:gd name="connsiteX10" fmla="*/ 14502 w 22446"/>
                <a:gd name="connsiteY10" fmla="*/ 5759 h 67339"/>
                <a:gd name="connsiteX11" fmla="*/ 15781 w 22446"/>
                <a:gd name="connsiteY11" fmla="*/ 3981 h 67339"/>
                <a:gd name="connsiteX12" fmla="*/ 17645 w 22446"/>
                <a:gd name="connsiteY12" fmla="*/ 2828 h 67339"/>
                <a:gd name="connsiteX13" fmla="*/ 19805 w 22446"/>
                <a:gd name="connsiteY13" fmla="*/ 2476 h 67339"/>
                <a:gd name="connsiteX14" fmla="*/ 21937 w 22446"/>
                <a:gd name="connsiteY14" fmla="*/ 2979 h 67339"/>
                <a:gd name="connsiteX15" fmla="*/ 23716 w 22446"/>
                <a:gd name="connsiteY15" fmla="*/ 4259 h 67339"/>
                <a:gd name="connsiteX16" fmla="*/ 24867 w 22446"/>
                <a:gd name="connsiteY16" fmla="*/ 6122 h 67339"/>
                <a:gd name="connsiteX17" fmla="*/ 25220 w 22446"/>
                <a:gd name="connsiteY17" fmla="*/ 8284 h 67339"/>
                <a:gd name="connsiteX18" fmla="*/ 23930 w 22446"/>
                <a:gd name="connsiteY18" fmla="*/ 47229 h 67339"/>
                <a:gd name="connsiteX19" fmla="*/ 20203 w 22446"/>
                <a:gd name="connsiteY19" fmla="*/ 59569 h 67339"/>
                <a:gd name="connsiteX20" fmla="*/ 10854 w 22446"/>
                <a:gd name="connsiteY20" fmla="*/ 68441 h 67339"/>
                <a:gd name="connsiteX21" fmla="*/ 8105 w 22446"/>
                <a:gd name="connsiteY21" fmla="*/ 69114 h 6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46" h="67339">
                  <a:moveTo>
                    <a:pt x="8105" y="69114"/>
                  </a:moveTo>
                  <a:cubicBezTo>
                    <a:pt x="7095" y="69117"/>
                    <a:pt x="6107" y="68847"/>
                    <a:pt x="5237" y="68334"/>
                  </a:cubicBezTo>
                  <a:cubicBezTo>
                    <a:pt x="4367" y="67820"/>
                    <a:pt x="3649" y="67081"/>
                    <a:pt x="3167" y="66196"/>
                  </a:cubicBezTo>
                  <a:cubicBezTo>
                    <a:pt x="2813" y="65548"/>
                    <a:pt x="2588" y="64836"/>
                    <a:pt x="2504" y="64101"/>
                  </a:cubicBezTo>
                  <a:cubicBezTo>
                    <a:pt x="2426" y="63366"/>
                    <a:pt x="2493" y="62623"/>
                    <a:pt x="2701" y="61914"/>
                  </a:cubicBezTo>
                  <a:cubicBezTo>
                    <a:pt x="2914" y="61204"/>
                    <a:pt x="3256" y="60544"/>
                    <a:pt x="3722" y="59969"/>
                  </a:cubicBezTo>
                  <a:cubicBezTo>
                    <a:pt x="4188" y="59394"/>
                    <a:pt x="4760" y="58916"/>
                    <a:pt x="5411" y="58565"/>
                  </a:cubicBezTo>
                  <a:cubicBezTo>
                    <a:pt x="7549" y="57424"/>
                    <a:pt x="9345" y="55738"/>
                    <a:pt x="10613" y="53677"/>
                  </a:cubicBezTo>
                  <a:cubicBezTo>
                    <a:pt x="11887" y="51617"/>
                    <a:pt x="12588" y="49256"/>
                    <a:pt x="12650" y="46836"/>
                  </a:cubicBezTo>
                  <a:lnTo>
                    <a:pt x="13997" y="7892"/>
                  </a:lnTo>
                  <a:cubicBezTo>
                    <a:pt x="14019" y="7154"/>
                    <a:pt x="14193" y="6430"/>
                    <a:pt x="14502" y="5759"/>
                  </a:cubicBezTo>
                  <a:cubicBezTo>
                    <a:pt x="14805" y="5088"/>
                    <a:pt x="15237" y="4484"/>
                    <a:pt x="15781" y="3981"/>
                  </a:cubicBezTo>
                  <a:cubicBezTo>
                    <a:pt x="16320" y="3478"/>
                    <a:pt x="16954" y="3086"/>
                    <a:pt x="17645" y="2828"/>
                  </a:cubicBezTo>
                  <a:cubicBezTo>
                    <a:pt x="18335" y="2570"/>
                    <a:pt x="19070" y="2450"/>
                    <a:pt x="19805" y="2476"/>
                  </a:cubicBezTo>
                  <a:cubicBezTo>
                    <a:pt x="20540" y="2502"/>
                    <a:pt x="21264" y="2673"/>
                    <a:pt x="21937" y="2979"/>
                  </a:cubicBezTo>
                  <a:cubicBezTo>
                    <a:pt x="22605" y="3285"/>
                    <a:pt x="23211" y="3719"/>
                    <a:pt x="23716" y="4259"/>
                  </a:cubicBezTo>
                  <a:cubicBezTo>
                    <a:pt x="24216" y="4798"/>
                    <a:pt x="24609" y="5431"/>
                    <a:pt x="24867" y="6122"/>
                  </a:cubicBezTo>
                  <a:cubicBezTo>
                    <a:pt x="25125" y="6813"/>
                    <a:pt x="25243" y="7547"/>
                    <a:pt x="25220" y="8284"/>
                  </a:cubicBezTo>
                  <a:lnTo>
                    <a:pt x="23930" y="47229"/>
                  </a:lnTo>
                  <a:cubicBezTo>
                    <a:pt x="23778" y="51596"/>
                    <a:pt x="22499" y="55849"/>
                    <a:pt x="20203" y="59569"/>
                  </a:cubicBezTo>
                  <a:cubicBezTo>
                    <a:pt x="17914" y="63288"/>
                    <a:pt x="14693" y="66346"/>
                    <a:pt x="10854" y="68441"/>
                  </a:cubicBezTo>
                  <a:cubicBezTo>
                    <a:pt x="10013" y="68896"/>
                    <a:pt x="9064" y="69129"/>
                    <a:pt x="8105" y="69114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129">
              <a:extLst>
                <a:ext uri="{FF2B5EF4-FFF2-40B4-BE49-F238E27FC236}">
                  <a16:creationId xmlns:a16="http://schemas.microsoft.com/office/drawing/2014/main" id="{6E777355-6870-743B-65C8-3FB5E7344032}"/>
                </a:ext>
              </a:extLst>
            </p:cNvPr>
            <p:cNvSpPr/>
            <p:nvPr/>
          </p:nvSpPr>
          <p:spPr>
            <a:xfrm>
              <a:off x="3463506" y="5511145"/>
              <a:ext cx="263746" cy="179572"/>
            </a:xfrm>
            <a:custGeom>
              <a:avLst/>
              <a:gdLst>
                <a:gd name="connsiteX0" fmla="*/ 238880 w 263746"/>
                <a:gd name="connsiteY0" fmla="*/ 56886 h 179572"/>
                <a:gd name="connsiteX1" fmla="*/ 63139 w 263746"/>
                <a:gd name="connsiteY1" fmla="*/ 3893 h 179572"/>
                <a:gd name="connsiteX2" fmla="*/ 21811 w 263746"/>
                <a:gd name="connsiteY2" fmla="*/ 26072 h 179572"/>
                <a:gd name="connsiteX3" fmla="*/ 3893 w 263746"/>
                <a:gd name="connsiteY3" fmla="*/ 85493 h 179572"/>
                <a:gd name="connsiteX4" fmla="*/ 26072 w 263746"/>
                <a:gd name="connsiteY4" fmla="*/ 126823 h 179572"/>
                <a:gd name="connsiteX5" fmla="*/ 201815 w 263746"/>
                <a:gd name="connsiteY5" fmla="*/ 179813 h 179572"/>
                <a:gd name="connsiteX6" fmla="*/ 243139 w 263746"/>
                <a:gd name="connsiteY6" fmla="*/ 157636 h 179572"/>
                <a:gd name="connsiteX7" fmla="*/ 261057 w 263746"/>
                <a:gd name="connsiteY7" fmla="*/ 98215 h 179572"/>
                <a:gd name="connsiteX8" fmla="*/ 238880 w 263746"/>
                <a:gd name="connsiteY8" fmla="*/ 56886 h 17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746" h="179572">
                  <a:moveTo>
                    <a:pt x="238880" y="56886"/>
                  </a:moveTo>
                  <a:lnTo>
                    <a:pt x="63139" y="3893"/>
                  </a:lnTo>
                  <a:cubicBezTo>
                    <a:pt x="45603" y="-1395"/>
                    <a:pt x="27099" y="8535"/>
                    <a:pt x="21811" y="26072"/>
                  </a:cubicBezTo>
                  <a:lnTo>
                    <a:pt x="3893" y="85493"/>
                  </a:lnTo>
                  <a:cubicBezTo>
                    <a:pt x="-1395" y="103029"/>
                    <a:pt x="8536" y="121531"/>
                    <a:pt x="26072" y="126823"/>
                  </a:cubicBezTo>
                  <a:lnTo>
                    <a:pt x="201815" y="179813"/>
                  </a:lnTo>
                  <a:cubicBezTo>
                    <a:pt x="219351" y="185099"/>
                    <a:pt x="237853" y="175172"/>
                    <a:pt x="243139" y="157636"/>
                  </a:cubicBezTo>
                  <a:lnTo>
                    <a:pt x="261057" y="98215"/>
                  </a:lnTo>
                  <a:cubicBezTo>
                    <a:pt x="266349" y="80678"/>
                    <a:pt x="256416" y="62173"/>
                    <a:pt x="238880" y="5688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130">
              <a:extLst>
                <a:ext uri="{FF2B5EF4-FFF2-40B4-BE49-F238E27FC236}">
                  <a16:creationId xmlns:a16="http://schemas.microsoft.com/office/drawing/2014/main" id="{7AFAA20D-0323-DC3B-F3FA-4D2BDCE474A2}"/>
                </a:ext>
              </a:extLst>
            </p:cNvPr>
            <p:cNvSpPr/>
            <p:nvPr/>
          </p:nvSpPr>
          <p:spPr>
            <a:xfrm>
              <a:off x="3234694" y="5997045"/>
              <a:ext cx="145902" cy="33670"/>
            </a:xfrm>
            <a:custGeom>
              <a:avLst/>
              <a:gdLst>
                <a:gd name="connsiteX0" fmla="*/ 8519 w 145902"/>
                <a:gd name="connsiteY0" fmla="*/ 34410 h 33669"/>
                <a:gd name="connsiteX1" fmla="*/ 4428 w 145902"/>
                <a:gd name="connsiteY1" fmla="*/ 33063 h 33669"/>
                <a:gd name="connsiteX2" fmla="*/ 2488 w 145902"/>
                <a:gd name="connsiteY2" fmla="*/ 29219 h 33669"/>
                <a:gd name="connsiteX3" fmla="*/ 3834 w 145902"/>
                <a:gd name="connsiteY3" fmla="*/ 25128 h 33669"/>
                <a:gd name="connsiteX4" fmla="*/ 7678 w 145902"/>
                <a:gd name="connsiteY4" fmla="*/ 23187 h 33669"/>
                <a:gd name="connsiteX5" fmla="*/ 141907 w 145902"/>
                <a:gd name="connsiteY5" fmla="*/ 2536 h 33669"/>
                <a:gd name="connsiteX6" fmla="*/ 146122 w 145902"/>
                <a:gd name="connsiteY6" fmla="*/ 3585 h 33669"/>
                <a:gd name="connsiteX7" fmla="*/ 148360 w 145902"/>
                <a:gd name="connsiteY7" fmla="*/ 7306 h 33669"/>
                <a:gd name="connsiteX8" fmla="*/ 147314 w 145902"/>
                <a:gd name="connsiteY8" fmla="*/ 11520 h 33669"/>
                <a:gd name="connsiteX9" fmla="*/ 143593 w 145902"/>
                <a:gd name="connsiteY9" fmla="*/ 13759 h 33669"/>
                <a:gd name="connsiteX10" fmla="*/ 9193 w 145902"/>
                <a:gd name="connsiteY10" fmla="*/ 34129 h 33669"/>
                <a:gd name="connsiteX11" fmla="*/ 8519 w 145902"/>
                <a:gd name="connsiteY11" fmla="*/ 34410 h 33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902" h="33669">
                  <a:moveTo>
                    <a:pt x="8519" y="34410"/>
                  </a:moveTo>
                  <a:cubicBezTo>
                    <a:pt x="7031" y="34522"/>
                    <a:pt x="5559" y="34034"/>
                    <a:pt x="4428" y="33063"/>
                  </a:cubicBezTo>
                  <a:cubicBezTo>
                    <a:pt x="3297" y="32087"/>
                    <a:pt x="2600" y="30706"/>
                    <a:pt x="2488" y="29219"/>
                  </a:cubicBezTo>
                  <a:cubicBezTo>
                    <a:pt x="2377" y="27732"/>
                    <a:pt x="2860" y="26256"/>
                    <a:pt x="3834" y="25128"/>
                  </a:cubicBezTo>
                  <a:cubicBezTo>
                    <a:pt x="4807" y="23995"/>
                    <a:pt x="6190" y="23299"/>
                    <a:pt x="7678" y="23187"/>
                  </a:cubicBezTo>
                  <a:lnTo>
                    <a:pt x="141907" y="2536"/>
                  </a:lnTo>
                  <a:cubicBezTo>
                    <a:pt x="143396" y="2311"/>
                    <a:pt x="144911" y="2687"/>
                    <a:pt x="146122" y="3585"/>
                  </a:cubicBezTo>
                  <a:cubicBezTo>
                    <a:pt x="147332" y="4478"/>
                    <a:pt x="148137" y="5819"/>
                    <a:pt x="148360" y="7306"/>
                  </a:cubicBezTo>
                  <a:cubicBezTo>
                    <a:pt x="148584" y="8793"/>
                    <a:pt x="148208" y="10308"/>
                    <a:pt x="147314" y="11520"/>
                  </a:cubicBezTo>
                  <a:cubicBezTo>
                    <a:pt x="146419" y="12732"/>
                    <a:pt x="145081" y="13535"/>
                    <a:pt x="143593" y="13759"/>
                  </a:cubicBezTo>
                  <a:lnTo>
                    <a:pt x="9193" y="34129"/>
                  </a:lnTo>
                  <a:lnTo>
                    <a:pt x="8519" y="3441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131">
              <a:extLst>
                <a:ext uri="{FF2B5EF4-FFF2-40B4-BE49-F238E27FC236}">
                  <a16:creationId xmlns:a16="http://schemas.microsoft.com/office/drawing/2014/main" id="{8DF1DFB2-BE2E-6473-82CB-D02C37F8C236}"/>
                </a:ext>
              </a:extLst>
            </p:cNvPr>
            <p:cNvSpPr/>
            <p:nvPr/>
          </p:nvSpPr>
          <p:spPr>
            <a:xfrm>
              <a:off x="3175030" y="5572238"/>
              <a:ext cx="690230" cy="650949"/>
            </a:xfrm>
            <a:custGeom>
              <a:avLst/>
              <a:gdLst>
                <a:gd name="connsiteX0" fmla="*/ 61340 w 690230"/>
                <a:gd name="connsiteY0" fmla="*/ 245689 h 650948"/>
                <a:gd name="connsiteX1" fmla="*/ 213412 w 690230"/>
                <a:gd name="connsiteY1" fmla="*/ 45691 h 650948"/>
                <a:gd name="connsiteX2" fmla="*/ 245899 w 690230"/>
                <a:gd name="connsiteY2" fmla="*/ 17105 h 650948"/>
                <a:gd name="connsiteX3" fmla="*/ 286922 w 690230"/>
                <a:gd name="connsiteY3" fmla="*/ 3329 h 650948"/>
                <a:gd name="connsiteX4" fmla="*/ 330076 w 690230"/>
                <a:gd name="connsiteY4" fmla="*/ 6514 h 650948"/>
                <a:gd name="connsiteX5" fmla="*/ 368631 w 690230"/>
                <a:gd name="connsiteY5" fmla="*/ 26162 h 650948"/>
                <a:gd name="connsiteX6" fmla="*/ 439674 w 690230"/>
                <a:gd name="connsiteY6" fmla="*/ 82279 h 650948"/>
                <a:gd name="connsiteX7" fmla="*/ 470651 w 690230"/>
                <a:gd name="connsiteY7" fmla="*/ 49394 h 650948"/>
                <a:gd name="connsiteX8" fmla="*/ 472053 w 690230"/>
                <a:gd name="connsiteY8" fmla="*/ 49394 h 650948"/>
                <a:gd name="connsiteX9" fmla="*/ 550223 w 690230"/>
                <a:gd name="connsiteY9" fmla="*/ 77385 h 650948"/>
                <a:gd name="connsiteX10" fmla="*/ 592984 w 690230"/>
                <a:gd name="connsiteY10" fmla="*/ 148552 h 650948"/>
                <a:gd name="connsiteX11" fmla="*/ 691187 w 690230"/>
                <a:gd name="connsiteY11" fmla="*/ 653037 h 650948"/>
                <a:gd name="connsiteX12" fmla="*/ 2472 w 690230"/>
                <a:gd name="connsiteY12" fmla="*/ 653037 h 650948"/>
                <a:gd name="connsiteX13" fmla="*/ 61340 w 690230"/>
                <a:gd name="connsiteY13" fmla="*/ 245689 h 65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0230" h="650948">
                  <a:moveTo>
                    <a:pt x="61340" y="245689"/>
                  </a:moveTo>
                  <a:lnTo>
                    <a:pt x="213412" y="45691"/>
                  </a:lnTo>
                  <a:cubicBezTo>
                    <a:pt x="222232" y="34097"/>
                    <a:pt x="233277" y="24378"/>
                    <a:pt x="245899" y="17105"/>
                  </a:cubicBezTo>
                  <a:cubicBezTo>
                    <a:pt x="258520" y="9831"/>
                    <a:pt x="272469" y="5148"/>
                    <a:pt x="286922" y="3329"/>
                  </a:cubicBezTo>
                  <a:cubicBezTo>
                    <a:pt x="301376" y="1511"/>
                    <a:pt x="316046" y="2593"/>
                    <a:pt x="330076" y="6514"/>
                  </a:cubicBezTo>
                  <a:cubicBezTo>
                    <a:pt x="344106" y="10435"/>
                    <a:pt x="357214" y="17116"/>
                    <a:pt x="368631" y="26162"/>
                  </a:cubicBezTo>
                  <a:lnTo>
                    <a:pt x="439674" y="82279"/>
                  </a:lnTo>
                  <a:lnTo>
                    <a:pt x="470651" y="49394"/>
                  </a:lnTo>
                  <a:lnTo>
                    <a:pt x="472053" y="49394"/>
                  </a:lnTo>
                  <a:cubicBezTo>
                    <a:pt x="500561" y="49422"/>
                    <a:pt x="528181" y="59310"/>
                    <a:pt x="550223" y="77385"/>
                  </a:cubicBezTo>
                  <a:cubicBezTo>
                    <a:pt x="572266" y="95460"/>
                    <a:pt x="587372" y="120606"/>
                    <a:pt x="592984" y="148552"/>
                  </a:cubicBezTo>
                  <a:lnTo>
                    <a:pt x="691187" y="653037"/>
                  </a:lnTo>
                  <a:lnTo>
                    <a:pt x="2472" y="653037"/>
                  </a:lnTo>
                  <a:lnTo>
                    <a:pt x="61340" y="245689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132">
              <a:extLst>
                <a:ext uri="{FF2B5EF4-FFF2-40B4-BE49-F238E27FC236}">
                  <a16:creationId xmlns:a16="http://schemas.microsoft.com/office/drawing/2014/main" id="{5114AFD7-D265-FAA5-F9F9-01590CE64462}"/>
                </a:ext>
              </a:extLst>
            </p:cNvPr>
            <p:cNvSpPr/>
            <p:nvPr/>
          </p:nvSpPr>
          <p:spPr>
            <a:xfrm>
              <a:off x="3727775" y="5956250"/>
              <a:ext cx="162737" cy="61728"/>
            </a:xfrm>
            <a:custGeom>
              <a:avLst/>
              <a:gdLst>
                <a:gd name="connsiteX0" fmla="*/ 100508 w 162737"/>
                <a:gd name="connsiteY0" fmla="*/ 59262 h 61727"/>
                <a:gd name="connsiteX1" fmla="*/ 117006 w 162737"/>
                <a:gd name="connsiteY1" fmla="*/ 59262 h 61727"/>
                <a:gd name="connsiteX2" fmla="*/ 142971 w 162737"/>
                <a:gd name="connsiteY2" fmla="*/ 51069 h 61727"/>
                <a:gd name="connsiteX3" fmla="*/ 159542 w 162737"/>
                <a:gd name="connsiteY3" fmla="*/ 29464 h 61727"/>
                <a:gd name="connsiteX4" fmla="*/ 160597 w 162737"/>
                <a:gd name="connsiteY4" fmla="*/ 19969 h 61727"/>
                <a:gd name="connsiteX5" fmla="*/ 157146 w 162737"/>
                <a:gd name="connsiteY5" fmla="*/ 11058 h 61727"/>
                <a:gd name="connsiteX6" fmla="*/ 149968 w 162737"/>
                <a:gd name="connsiteY6" fmla="*/ 4751 h 61727"/>
                <a:gd name="connsiteX7" fmla="*/ 140687 w 162737"/>
                <a:gd name="connsiteY7" fmla="*/ 2472 h 61727"/>
                <a:gd name="connsiteX8" fmla="*/ 2472 w 162737"/>
                <a:gd name="connsiteY8" fmla="*/ 2472 h 61727"/>
                <a:gd name="connsiteX9" fmla="*/ 100508 w 162737"/>
                <a:gd name="connsiteY9" fmla="*/ 59262 h 6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737" h="61727">
                  <a:moveTo>
                    <a:pt x="100508" y="59262"/>
                  </a:moveTo>
                  <a:lnTo>
                    <a:pt x="117006" y="59262"/>
                  </a:lnTo>
                  <a:cubicBezTo>
                    <a:pt x="126299" y="59257"/>
                    <a:pt x="135361" y="56400"/>
                    <a:pt x="142971" y="51069"/>
                  </a:cubicBezTo>
                  <a:cubicBezTo>
                    <a:pt x="150580" y="45738"/>
                    <a:pt x="156366" y="38196"/>
                    <a:pt x="159542" y="29464"/>
                  </a:cubicBezTo>
                  <a:cubicBezTo>
                    <a:pt x="160653" y="26428"/>
                    <a:pt x="161018" y="23174"/>
                    <a:pt x="160597" y="19969"/>
                  </a:cubicBezTo>
                  <a:cubicBezTo>
                    <a:pt x="160182" y="16765"/>
                    <a:pt x="158998" y="13707"/>
                    <a:pt x="157146" y="11058"/>
                  </a:cubicBezTo>
                  <a:cubicBezTo>
                    <a:pt x="155294" y="8410"/>
                    <a:pt x="152830" y="6243"/>
                    <a:pt x="149968" y="4751"/>
                  </a:cubicBezTo>
                  <a:cubicBezTo>
                    <a:pt x="147101" y="3258"/>
                    <a:pt x="143919" y="2472"/>
                    <a:pt x="140687" y="2472"/>
                  </a:cubicBezTo>
                  <a:lnTo>
                    <a:pt x="2472" y="2472"/>
                  </a:lnTo>
                  <a:lnTo>
                    <a:pt x="100508" y="59262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133">
              <a:extLst>
                <a:ext uri="{FF2B5EF4-FFF2-40B4-BE49-F238E27FC236}">
                  <a16:creationId xmlns:a16="http://schemas.microsoft.com/office/drawing/2014/main" id="{5D4A2432-5D72-7866-662A-DB58B2C60BDD}"/>
                </a:ext>
              </a:extLst>
            </p:cNvPr>
            <p:cNvSpPr/>
            <p:nvPr/>
          </p:nvSpPr>
          <p:spPr>
            <a:xfrm>
              <a:off x="3722163" y="5950639"/>
              <a:ext cx="173960" cy="72951"/>
            </a:xfrm>
            <a:custGeom>
              <a:avLst/>
              <a:gdLst>
                <a:gd name="connsiteX0" fmla="*/ 122617 w 173960"/>
                <a:gd name="connsiteY0" fmla="*/ 70485 h 72951"/>
                <a:gd name="connsiteX1" fmla="*/ 106119 w 173960"/>
                <a:gd name="connsiteY1" fmla="*/ 70485 h 72951"/>
                <a:gd name="connsiteX2" fmla="*/ 102152 w 173960"/>
                <a:gd name="connsiteY2" fmla="*/ 68841 h 72951"/>
                <a:gd name="connsiteX3" fmla="*/ 100508 w 173960"/>
                <a:gd name="connsiteY3" fmla="*/ 64874 h 72951"/>
                <a:gd name="connsiteX4" fmla="*/ 102152 w 173960"/>
                <a:gd name="connsiteY4" fmla="*/ 60906 h 72951"/>
                <a:gd name="connsiteX5" fmla="*/ 106119 w 173960"/>
                <a:gd name="connsiteY5" fmla="*/ 59262 h 72951"/>
                <a:gd name="connsiteX6" fmla="*/ 122617 w 173960"/>
                <a:gd name="connsiteY6" fmla="*/ 59262 h 72951"/>
                <a:gd name="connsiteX7" fmla="*/ 145344 w 173960"/>
                <a:gd name="connsiteY7" fmla="*/ 52068 h 72951"/>
                <a:gd name="connsiteX8" fmla="*/ 159879 w 173960"/>
                <a:gd name="connsiteY8" fmla="*/ 33168 h 72951"/>
                <a:gd name="connsiteX9" fmla="*/ 160670 w 173960"/>
                <a:gd name="connsiteY9" fmla="*/ 26327 h 72951"/>
                <a:gd name="connsiteX10" fmla="*/ 158139 w 173960"/>
                <a:gd name="connsiteY10" fmla="*/ 19925 h 72951"/>
                <a:gd name="connsiteX11" fmla="*/ 152993 w 173960"/>
                <a:gd name="connsiteY11" fmla="*/ 15340 h 72951"/>
                <a:gd name="connsiteX12" fmla="*/ 146298 w 173960"/>
                <a:gd name="connsiteY12" fmla="*/ 13696 h 72951"/>
                <a:gd name="connsiteX13" fmla="*/ 8084 w 173960"/>
                <a:gd name="connsiteY13" fmla="*/ 13696 h 72951"/>
                <a:gd name="connsiteX14" fmla="*/ 4117 w 173960"/>
                <a:gd name="connsiteY14" fmla="*/ 12051 h 72951"/>
                <a:gd name="connsiteX15" fmla="*/ 2472 w 173960"/>
                <a:gd name="connsiteY15" fmla="*/ 8084 h 72951"/>
                <a:gd name="connsiteX16" fmla="*/ 4117 w 173960"/>
                <a:gd name="connsiteY16" fmla="*/ 4117 h 72951"/>
                <a:gd name="connsiteX17" fmla="*/ 8084 w 173960"/>
                <a:gd name="connsiteY17" fmla="*/ 2472 h 72951"/>
                <a:gd name="connsiteX18" fmla="*/ 146298 w 173960"/>
                <a:gd name="connsiteY18" fmla="*/ 2472 h 72951"/>
                <a:gd name="connsiteX19" fmla="*/ 158167 w 173960"/>
                <a:gd name="connsiteY19" fmla="*/ 5385 h 72951"/>
                <a:gd name="connsiteX20" fmla="*/ 167348 w 173960"/>
                <a:gd name="connsiteY20" fmla="*/ 13449 h 72951"/>
                <a:gd name="connsiteX21" fmla="*/ 171770 w 173960"/>
                <a:gd name="connsiteY21" fmla="*/ 24840 h 72951"/>
                <a:gd name="connsiteX22" fmla="*/ 170428 w 173960"/>
                <a:gd name="connsiteY22" fmla="*/ 36984 h 72951"/>
                <a:gd name="connsiteX23" fmla="*/ 151787 w 173960"/>
                <a:gd name="connsiteY23" fmla="*/ 61249 h 72951"/>
                <a:gd name="connsiteX24" fmla="*/ 122617 w 173960"/>
                <a:gd name="connsiteY24" fmla="*/ 70485 h 7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3960" h="72951">
                  <a:moveTo>
                    <a:pt x="122617" y="70485"/>
                  </a:moveTo>
                  <a:lnTo>
                    <a:pt x="106119" y="70485"/>
                  </a:lnTo>
                  <a:cubicBezTo>
                    <a:pt x="104632" y="70485"/>
                    <a:pt x="103207" y="69896"/>
                    <a:pt x="102152" y="68841"/>
                  </a:cubicBezTo>
                  <a:cubicBezTo>
                    <a:pt x="101102" y="67792"/>
                    <a:pt x="100508" y="66361"/>
                    <a:pt x="100508" y="64874"/>
                  </a:cubicBezTo>
                  <a:cubicBezTo>
                    <a:pt x="100508" y="63387"/>
                    <a:pt x="101102" y="61956"/>
                    <a:pt x="102152" y="60906"/>
                  </a:cubicBezTo>
                  <a:cubicBezTo>
                    <a:pt x="103207" y="59851"/>
                    <a:pt x="104632" y="59262"/>
                    <a:pt x="106119" y="59262"/>
                  </a:cubicBezTo>
                  <a:lnTo>
                    <a:pt x="122617" y="59262"/>
                  </a:lnTo>
                  <a:cubicBezTo>
                    <a:pt x="130754" y="59245"/>
                    <a:pt x="138683" y="56731"/>
                    <a:pt x="145344" y="52068"/>
                  </a:cubicBezTo>
                  <a:cubicBezTo>
                    <a:pt x="152006" y="47399"/>
                    <a:pt x="157078" y="40805"/>
                    <a:pt x="159879" y="33168"/>
                  </a:cubicBezTo>
                  <a:cubicBezTo>
                    <a:pt x="160704" y="30991"/>
                    <a:pt x="160973" y="28639"/>
                    <a:pt x="160670" y="26327"/>
                  </a:cubicBezTo>
                  <a:cubicBezTo>
                    <a:pt x="160367" y="24016"/>
                    <a:pt x="159497" y="21816"/>
                    <a:pt x="158139" y="19925"/>
                  </a:cubicBezTo>
                  <a:cubicBezTo>
                    <a:pt x="156826" y="18000"/>
                    <a:pt x="155053" y="16429"/>
                    <a:pt x="152993" y="15340"/>
                  </a:cubicBezTo>
                  <a:cubicBezTo>
                    <a:pt x="150928" y="14257"/>
                    <a:pt x="148627" y="13690"/>
                    <a:pt x="146298" y="13696"/>
                  </a:cubicBezTo>
                  <a:lnTo>
                    <a:pt x="8084" y="13696"/>
                  </a:lnTo>
                  <a:cubicBezTo>
                    <a:pt x="6597" y="13696"/>
                    <a:pt x="5166" y="13107"/>
                    <a:pt x="4117" y="12051"/>
                  </a:cubicBezTo>
                  <a:cubicBezTo>
                    <a:pt x="3062" y="11002"/>
                    <a:pt x="2472" y="9571"/>
                    <a:pt x="2472" y="8084"/>
                  </a:cubicBezTo>
                  <a:cubicBezTo>
                    <a:pt x="2472" y="6597"/>
                    <a:pt x="3062" y="5166"/>
                    <a:pt x="4117" y="4117"/>
                  </a:cubicBezTo>
                  <a:cubicBezTo>
                    <a:pt x="5166" y="3062"/>
                    <a:pt x="6597" y="2472"/>
                    <a:pt x="8084" y="2472"/>
                  </a:cubicBezTo>
                  <a:lnTo>
                    <a:pt x="146298" y="2472"/>
                  </a:lnTo>
                  <a:cubicBezTo>
                    <a:pt x="150429" y="2472"/>
                    <a:pt x="154503" y="3471"/>
                    <a:pt x="158167" y="5385"/>
                  </a:cubicBezTo>
                  <a:cubicBezTo>
                    <a:pt x="161831" y="7293"/>
                    <a:pt x="164980" y="10059"/>
                    <a:pt x="167348" y="13449"/>
                  </a:cubicBezTo>
                  <a:cubicBezTo>
                    <a:pt x="169716" y="16833"/>
                    <a:pt x="171231" y="20744"/>
                    <a:pt x="171770" y="24840"/>
                  </a:cubicBezTo>
                  <a:cubicBezTo>
                    <a:pt x="172303" y="28937"/>
                    <a:pt x="171848" y="33101"/>
                    <a:pt x="170428" y="36984"/>
                  </a:cubicBezTo>
                  <a:cubicBezTo>
                    <a:pt x="166848" y="46787"/>
                    <a:pt x="160339" y="55261"/>
                    <a:pt x="151787" y="61249"/>
                  </a:cubicBezTo>
                  <a:cubicBezTo>
                    <a:pt x="143240" y="67242"/>
                    <a:pt x="133061" y="70463"/>
                    <a:pt x="122617" y="7048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134">
              <a:extLst>
                <a:ext uri="{FF2B5EF4-FFF2-40B4-BE49-F238E27FC236}">
                  <a16:creationId xmlns:a16="http://schemas.microsoft.com/office/drawing/2014/main" id="{C4FB5AE4-0AE0-201B-0A34-1D91FCD6257A}"/>
                </a:ext>
              </a:extLst>
            </p:cNvPr>
            <p:cNvSpPr/>
            <p:nvPr/>
          </p:nvSpPr>
          <p:spPr>
            <a:xfrm>
              <a:off x="3056300" y="5815455"/>
              <a:ext cx="869802" cy="415260"/>
            </a:xfrm>
            <a:custGeom>
              <a:avLst/>
              <a:gdLst>
                <a:gd name="connsiteX0" fmla="*/ 180068 w 869802"/>
                <a:gd name="connsiteY0" fmla="*/ 2472 h 415260"/>
                <a:gd name="connsiteX1" fmla="*/ 30461 w 869802"/>
                <a:gd name="connsiteY1" fmla="*/ 199160 h 415260"/>
                <a:gd name="connsiteX2" fmla="*/ 165927 w 869802"/>
                <a:gd name="connsiteY2" fmla="*/ 413356 h 415260"/>
                <a:gd name="connsiteX3" fmla="*/ 634217 w 869802"/>
                <a:gd name="connsiteY3" fmla="*/ 315377 h 415260"/>
                <a:gd name="connsiteX4" fmla="*/ 690726 w 869802"/>
                <a:gd name="connsiteY4" fmla="*/ 354658 h 415260"/>
                <a:gd name="connsiteX5" fmla="*/ 721118 w 869802"/>
                <a:gd name="connsiteY5" fmla="*/ 365797 h 415260"/>
                <a:gd name="connsiteX6" fmla="*/ 753015 w 869802"/>
                <a:gd name="connsiteY6" fmla="*/ 360270 h 415260"/>
                <a:gd name="connsiteX7" fmla="*/ 768447 w 869802"/>
                <a:gd name="connsiteY7" fmla="*/ 353143 h 415260"/>
                <a:gd name="connsiteX8" fmla="*/ 799625 w 869802"/>
                <a:gd name="connsiteY8" fmla="*/ 362879 h 415260"/>
                <a:gd name="connsiteX9" fmla="*/ 831129 w 869802"/>
                <a:gd name="connsiteY9" fmla="*/ 354265 h 415260"/>
                <a:gd name="connsiteX10" fmla="*/ 844148 w 869802"/>
                <a:gd name="connsiteY10" fmla="*/ 346241 h 415260"/>
                <a:gd name="connsiteX11" fmla="*/ 829109 w 869802"/>
                <a:gd name="connsiteY11" fmla="*/ 327666 h 415260"/>
                <a:gd name="connsiteX12" fmla="*/ 834159 w 869802"/>
                <a:gd name="connsiteY12" fmla="*/ 327105 h 415260"/>
                <a:gd name="connsiteX13" fmla="*/ 858048 w 869802"/>
                <a:gd name="connsiteY13" fmla="*/ 316853 h 415260"/>
                <a:gd name="connsiteX14" fmla="*/ 872150 w 869802"/>
                <a:gd name="connsiteY14" fmla="*/ 295006 h 415260"/>
                <a:gd name="connsiteX15" fmla="*/ 751668 w 869802"/>
                <a:gd name="connsiteY15" fmla="*/ 174581 h 415260"/>
                <a:gd name="connsiteX16" fmla="*/ 709340 w 869802"/>
                <a:gd name="connsiteY16" fmla="*/ 148324 h 415260"/>
                <a:gd name="connsiteX17" fmla="*/ 659750 w 869802"/>
                <a:gd name="connsiteY17" fmla="*/ 143605 h 415260"/>
                <a:gd name="connsiteX18" fmla="*/ 321030 w 869802"/>
                <a:gd name="connsiteY18" fmla="*/ 189620 h 415260"/>
                <a:gd name="connsiteX19" fmla="*/ 410537 w 869802"/>
                <a:gd name="connsiteY19" fmla="*/ 91585 h 415260"/>
                <a:gd name="connsiteX20" fmla="*/ 180068 w 869802"/>
                <a:gd name="connsiteY20" fmla="*/ 2472 h 41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69802" h="415260">
                  <a:moveTo>
                    <a:pt x="180068" y="2472"/>
                  </a:moveTo>
                  <a:lnTo>
                    <a:pt x="30461" y="199160"/>
                  </a:lnTo>
                  <a:cubicBezTo>
                    <a:pt x="-45183" y="298878"/>
                    <a:pt x="43425" y="439001"/>
                    <a:pt x="165927" y="413356"/>
                  </a:cubicBezTo>
                  <a:lnTo>
                    <a:pt x="634217" y="315377"/>
                  </a:lnTo>
                  <a:lnTo>
                    <a:pt x="690726" y="354658"/>
                  </a:lnTo>
                  <a:cubicBezTo>
                    <a:pt x="699704" y="360971"/>
                    <a:pt x="710187" y="364815"/>
                    <a:pt x="721118" y="365797"/>
                  </a:cubicBezTo>
                  <a:cubicBezTo>
                    <a:pt x="732050" y="366785"/>
                    <a:pt x="743049" y="364877"/>
                    <a:pt x="753015" y="360270"/>
                  </a:cubicBezTo>
                  <a:lnTo>
                    <a:pt x="768447" y="353143"/>
                  </a:lnTo>
                  <a:cubicBezTo>
                    <a:pt x="777695" y="359299"/>
                    <a:pt x="788514" y="362677"/>
                    <a:pt x="799625" y="362879"/>
                  </a:cubicBezTo>
                  <a:cubicBezTo>
                    <a:pt x="810731" y="363075"/>
                    <a:pt x="821668" y="360090"/>
                    <a:pt x="831129" y="354265"/>
                  </a:cubicBezTo>
                  <a:lnTo>
                    <a:pt x="844148" y="346241"/>
                  </a:lnTo>
                  <a:lnTo>
                    <a:pt x="829109" y="327666"/>
                  </a:lnTo>
                  <a:lnTo>
                    <a:pt x="834159" y="327105"/>
                  </a:lnTo>
                  <a:cubicBezTo>
                    <a:pt x="842964" y="326140"/>
                    <a:pt x="851286" y="322571"/>
                    <a:pt x="858048" y="316853"/>
                  </a:cubicBezTo>
                  <a:cubicBezTo>
                    <a:pt x="864815" y="311134"/>
                    <a:pt x="869726" y="303531"/>
                    <a:pt x="872150" y="295006"/>
                  </a:cubicBezTo>
                  <a:lnTo>
                    <a:pt x="751668" y="174581"/>
                  </a:lnTo>
                  <a:cubicBezTo>
                    <a:pt x="739771" y="162684"/>
                    <a:pt x="725282" y="153695"/>
                    <a:pt x="709340" y="148324"/>
                  </a:cubicBezTo>
                  <a:cubicBezTo>
                    <a:pt x="693391" y="142948"/>
                    <a:pt x="676422" y="141332"/>
                    <a:pt x="659750" y="143605"/>
                  </a:cubicBezTo>
                  <a:lnTo>
                    <a:pt x="321030" y="189620"/>
                  </a:lnTo>
                  <a:lnTo>
                    <a:pt x="410537" y="91585"/>
                  </a:lnTo>
                  <a:cubicBezTo>
                    <a:pt x="410537" y="91585"/>
                    <a:pt x="353860" y="2472"/>
                    <a:pt x="180068" y="247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135">
              <a:extLst>
                <a:ext uri="{FF2B5EF4-FFF2-40B4-BE49-F238E27FC236}">
                  <a16:creationId xmlns:a16="http://schemas.microsoft.com/office/drawing/2014/main" id="{97459D8F-AD5F-6EA4-1878-D7016F22CC89}"/>
                </a:ext>
              </a:extLst>
            </p:cNvPr>
            <p:cNvSpPr/>
            <p:nvPr/>
          </p:nvSpPr>
          <p:spPr>
            <a:xfrm>
              <a:off x="3051338" y="5809557"/>
              <a:ext cx="881025" cy="426484"/>
            </a:xfrm>
            <a:custGeom>
              <a:avLst/>
              <a:gdLst>
                <a:gd name="connsiteX0" fmla="*/ 141708 w 881025"/>
                <a:gd name="connsiteY0" fmla="*/ 427946 h 426483"/>
                <a:gd name="connsiteX1" fmla="*/ 68080 w 881025"/>
                <a:gd name="connsiteY1" fmla="*/ 406049 h 426483"/>
                <a:gd name="connsiteX2" fmla="*/ 16825 w 881025"/>
                <a:gd name="connsiteY2" fmla="*/ 348833 h 426483"/>
                <a:gd name="connsiteX3" fmla="*/ 3127 w 881025"/>
                <a:gd name="connsiteY3" fmla="*/ 273250 h 426483"/>
                <a:gd name="connsiteX4" fmla="*/ 31048 w 881025"/>
                <a:gd name="connsiteY4" fmla="*/ 201685 h 426483"/>
                <a:gd name="connsiteX5" fmla="*/ 180540 w 881025"/>
                <a:gd name="connsiteY5" fmla="*/ 4661 h 426483"/>
                <a:gd name="connsiteX6" fmla="*/ 182530 w 881025"/>
                <a:gd name="connsiteY6" fmla="*/ 3045 h 426483"/>
                <a:gd name="connsiteX7" fmla="*/ 185031 w 881025"/>
                <a:gd name="connsiteY7" fmla="*/ 2473 h 426483"/>
                <a:gd name="connsiteX8" fmla="*/ 420325 w 881025"/>
                <a:gd name="connsiteY8" fmla="*/ 94559 h 426483"/>
                <a:gd name="connsiteX9" fmla="*/ 421193 w 881025"/>
                <a:gd name="connsiteY9" fmla="*/ 98050 h 426483"/>
                <a:gd name="connsiteX10" fmla="*/ 419766 w 881025"/>
                <a:gd name="connsiteY10" fmla="*/ 101349 h 426483"/>
                <a:gd name="connsiteX11" fmla="*/ 340696 w 881025"/>
                <a:gd name="connsiteY11" fmla="*/ 187937 h 426483"/>
                <a:gd name="connsiteX12" fmla="*/ 664039 w 881025"/>
                <a:gd name="connsiteY12" fmla="*/ 143998 h 426483"/>
                <a:gd name="connsiteX13" fmla="*/ 716171 w 881025"/>
                <a:gd name="connsiteY13" fmla="*/ 149020 h 426483"/>
                <a:gd name="connsiteX14" fmla="*/ 760727 w 881025"/>
                <a:gd name="connsiteY14" fmla="*/ 176545 h 426483"/>
                <a:gd name="connsiteX15" fmla="*/ 881209 w 881025"/>
                <a:gd name="connsiteY15" fmla="*/ 296971 h 426483"/>
                <a:gd name="connsiteX16" fmla="*/ 882690 w 881025"/>
                <a:gd name="connsiteY16" fmla="*/ 299586 h 426483"/>
                <a:gd name="connsiteX17" fmla="*/ 882611 w 881025"/>
                <a:gd name="connsiteY17" fmla="*/ 302582 h 426483"/>
                <a:gd name="connsiteX18" fmla="*/ 868661 w 881025"/>
                <a:gd name="connsiteY18" fmla="*/ 325534 h 426483"/>
                <a:gd name="connsiteX19" fmla="*/ 844845 w 881025"/>
                <a:gd name="connsiteY19" fmla="*/ 337936 h 426483"/>
                <a:gd name="connsiteX20" fmla="*/ 853599 w 881025"/>
                <a:gd name="connsiteY20" fmla="*/ 348766 h 426483"/>
                <a:gd name="connsiteX21" fmla="*/ 854677 w 881025"/>
                <a:gd name="connsiteY21" fmla="*/ 350887 h 426483"/>
                <a:gd name="connsiteX22" fmla="*/ 854778 w 881025"/>
                <a:gd name="connsiteY22" fmla="*/ 353255 h 426483"/>
                <a:gd name="connsiteX23" fmla="*/ 853897 w 881025"/>
                <a:gd name="connsiteY23" fmla="*/ 355444 h 426483"/>
                <a:gd name="connsiteX24" fmla="*/ 852196 w 881025"/>
                <a:gd name="connsiteY24" fmla="*/ 357071 h 426483"/>
                <a:gd name="connsiteX25" fmla="*/ 839121 w 881025"/>
                <a:gd name="connsiteY25" fmla="*/ 365096 h 426483"/>
                <a:gd name="connsiteX26" fmla="*/ 806187 w 881025"/>
                <a:gd name="connsiteY26" fmla="*/ 374518 h 426483"/>
                <a:gd name="connsiteX27" fmla="*/ 773129 w 881025"/>
                <a:gd name="connsiteY27" fmla="*/ 365545 h 426483"/>
                <a:gd name="connsiteX28" fmla="*/ 760446 w 881025"/>
                <a:gd name="connsiteY28" fmla="*/ 371437 h 426483"/>
                <a:gd name="connsiteX29" fmla="*/ 725694 w 881025"/>
                <a:gd name="connsiteY29" fmla="*/ 377486 h 426483"/>
                <a:gd name="connsiteX30" fmla="*/ 692546 w 881025"/>
                <a:gd name="connsiteY30" fmla="*/ 365433 h 426483"/>
                <a:gd name="connsiteX31" fmla="*/ 638057 w 881025"/>
                <a:gd name="connsiteY31" fmla="*/ 327330 h 426483"/>
                <a:gd name="connsiteX32" fmla="*/ 172293 w 881025"/>
                <a:gd name="connsiteY32" fmla="*/ 424804 h 426483"/>
                <a:gd name="connsiteX33" fmla="*/ 141708 w 881025"/>
                <a:gd name="connsiteY33" fmla="*/ 427946 h 426483"/>
                <a:gd name="connsiteX34" fmla="*/ 187779 w 881025"/>
                <a:gd name="connsiteY34" fmla="*/ 13696 h 426483"/>
                <a:gd name="connsiteX35" fmla="*/ 39970 w 881025"/>
                <a:gd name="connsiteY35" fmla="*/ 208475 h 426483"/>
                <a:gd name="connsiteX36" fmla="*/ 13630 w 881025"/>
                <a:gd name="connsiteY36" fmla="*/ 281432 h 426483"/>
                <a:gd name="connsiteX37" fmla="*/ 33660 w 881025"/>
                <a:gd name="connsiteY37" fmla="*/ 356364 h 426483"/>
                <a:gd name="connsiteX38" fmla="*/ 92886 w 881025"/>
                <a:gd name="connsiteY38" fmla="*/ 406448 h 426483"/>
                <a:gd name="connsiteX39" fmla="*/ 170103 w 881025"/>
                <a:gd name="connsiteY39" fmla="*/ 413749 h 426483"/>
                <a:gd name="connsiteX40" fmla="*/ 638450 w 881025"/>
                <a:gd name="connsiteY40" fmla="*/ 315775 h 426483"/>
                <a:gd name="connsiteX41" fmla="*/ 640733 w 881025"/>
                <a:gd name="connsiteY41" fmla="*/ 315764 h 426483"/>
                <a:gd name="connsiteX42" fmla="*/ 642827 w 881025"/>
                <a:gd name="connsiteY42" fmla="*/ 316667 h 426483"/>
                <a:gd name="connsiteX43" fmla="*/ 699280 w 881025"/>
                <a:gd name="connsiteY43" fmla="*/ 355949 h 426483"/>
                <a:gd name="connsiteX44" fmla="*/ 726951 w 881025"/>
                <a:gd name="connsiteY44" fmla="*/ 365999 h 426483"/>
                <a:gd name="connsiteX45" fmla="*/ 755957 w 881025"/>
                <a:gd name="connsiteY45" fmla="*/ 360943 h 426483"/>
                <a:gd name="connsiteX46" fmla="*/ 771445 w 881025"/>
                <a:gd name="connsiteY46" fmla="*/ 353760 h 426483"/>
                <a:gd name="connsiteX47" fmla="*/ 774301 w 881025"/>
                <a:gd name="connsiteY47" fmla="*/ 353205 h 426483"/>
                <a:gd name="connsiteX48" fmla="*/ 777057 w 881025"/>
                <a:gd name="connsiteY48" fmla="*/ 354153 h 426483"/>
                <a:gd name="connsiteX49" fmla="*/ 805210 w 881025"/>
                <a:gd name="connsiteY49" fmla="*/ 362963 h 426483"/>
                <a:gd name="connsiteX50" fmla="*/ 833678 w 881025"/>
                <a:gd name="connsiteY50" fmla="*/ 355219 h 426483"/>
                <a:gd name="connsiteX51" fmla="*/ 841254 w 881025"/>
                <a:gd name="connsiteY51" fmla="*/ 350506 h 426483"/>
                <a:gd name="connsiteX52" fmla="*/ 830030 w 881025"/>
                <a:gd name="connsiteY52" fmla="*/ 336925 h 426483"/>
                <a:gd name="connsiteX53" fmla="*/ 828846 w 881025"/>
                <a:gd name="connsiteY53" fmla="*/ 334237 h 426483"/>
                <a:gd name="connsiteX54" fmla="*/ 829189 w 881025"/>
                <a:gd name="connsiteY54" fmla="*/ 331314 h 426483"/>
                <a:gd name="connsiteX55" fmla="*/ 830996 w 881025"/>
                <a:gd name="connsiteY55" fmla="*/ 328985 h 426483"/>
                <a:gd name="connsiteX56" fmla="*/ 833734 w 881025"/>
                <a:gd name="connsiteY56" fmla="*/ 327891 h 426483"/>
                <a:gd name="connsiteX57" fmla="*/ 838785 w 881025"/>
                <a:gd name="connsiteY57" fmla="*/ 327330 h 426483"/>
                <a:gd name="connsiteX58" fmla="*/ 858437 w 881025"/>
                <a:gd name="connsiteY58" fmla="*/ 319378 h 426483"/>
                <a:gd name="connsiteX59" fmla="*/ 870995 w 881025"/>
                <a:gd name="connsiteY59" fmla="*/ 302302 h 426483"/>
                <a:gd name="connsiteX60" fmla="*/ 753151 w 881025"/>
                <a:gd name="connsiteY60" fmla="*/ 184458 h 426483"/>
                <a:gd name="connsiteX61" fmla="*/ 712972 w 881025"/>
                <a:gd name="connsiteY61" fmla="*/ 159609 h 426483"/>
                <a:gd name="connsiteX62" fmla="*/ 665947 w 881025"/>
                <a:gd name="connsiteY62" fmla="*/ 155053 h 426483"/>
                <a:gd name="connsiteX63" fmla="*/ 327284 w 881025"/>
                <a:gd name="connsiteY63" fmla="*/ 201068 h 426483"/>
                <a:gd name="connsiteX64" fmla="*/ 324028 w 881025"/>
                <a:gd name="connsiteY64" fmla="*/ 200479 h 426483"/>
                <a:gd name="connsiteX65" fmla="*/ 321672 w 881025"/>
                <a:gd name="connsiteY65" fmla="*/ 198150 h 426483"/>
                <a:gd name="connsiteX66" fmla="*/ 321055 w 881025"/>
                <a:gd name="connsiteY66" fmla="*/ 194828 h 426483"/>
                <a:gd name="connsiteX67" fmla="*/ 322458 w 881025"/>
                <a:gd name="connsiteY67" fmla="*/ 191753 h 426483"/>
                <a:gd name="connsiteX68" fmla="*/ 408877 w 881025"/>
                <a:gd name="connsiteY68" fmla="*/ 97028 h 426483"/>
                <a:gd name="connsiteX69" fmla="*/ 362356 w 881025"/>
                <a:gd name="connsiteY69" fmla="*/ 57074 h 426483"/>
                <a:gd name="connsiteX70" fmla="*/ 187779 w 881025"/>
                <a:gd name="connsiteY70" fmla="*/ 13976 h 426483"/>
                <a:gd name="connsiteX71" fmla="*/ 187779 w 881025"/>
                <a:gd name="connsiteY71" fmla="*/ 13696 h 42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881025" h="426483">
                  <a:moveTo>
                    <a:pt x="141708" y="427946"/>
                  </a:moveTo>
                  <a:cubicBezTo>
                    <a:pt x="115613" y="427598"/>
                    <a:pt x="90127" y="420017"/>
                    <a:pt x="68080" y="406049"/>
                  </a:cubicBezTo>
                  <a:cubicBezTo>
                    <a:pt x="46034" y="392088"/>
                    <a:pt x="28291" y="372279"/>
                    <a:pt x="16825" y="348833"/>
                  </a:cubicBezTo>
                  <a:cubicBezTo>
                    <a:pt x="5358" y="325394"/>
                    <a:pt x="616" y="299227"/>
                    <a:pt x="3127" y="273250"/>
                  </a:cubicBezTo>
                  <a:cubicBezTo>
                    <a:pt x="5638" y="247274"/>
                    <a:pt x="15304" y="222504"/>
                    <a:pt x="31048" y="201685"/>
                  </a:cubicBezTo>
                  <a:lnTo>
                    <a:pt x="180540" y="4661"/>
                  </a:lnTo>
                  <a:cubicBezTo>
                    <a:pt x="181069" y="3977"/>
                    <a:pt x="181751" y="3421"/>
                    <a:pt x="182530" y="3045"/>
                  </a:cubicBezTo>
                  <a:cubicBezTo>
                    <a:pt x="183308" y="2663"/>
                    <a:pt x="184165" y="2467"/>
                    <a:pt x="185031" y="2473"/>
                  </a:cubicBezTo>
                  <a:cubicBezTo>
                    <a:pt x="359889" y="2473"/>
                    <a:pt x="417968" y="90800"/>
                    <a:pt x="420325" y="94559"/>
                  </a:cubicBezTo>
                  <a:cubicBezTo>
                    <a:pt x="420989" y="95597"/>
                    <a:pt x="421295" y="96826"/>
                    <a:pt x="421193" y="98050"/>
                  </a:cubicBezTo>
                  <a:cubicBezTo>
                    <a:pt x="421092" y="99279"/>
                    <a:pt x="420592" y="100440"/>
                    <a:pt x="419766" y="101349"/>
                  </a:cubicBezTo>
                  <a:lnTo>
                    <a:pt x="340696" y="187937"/>
                  </a:lnTo>
                  <a:lnTo>
                    <a:pt x="664039" y="143998"/>
                  </a:lnTo>
                  <a:cubicBezTo>
                    <a:pt x="681569" y="141658"/>
                    <a:pt x="699409" y="143375"/>
                    <a:pt x="716171" y="149020"/>
                  </a:cubicBezTo>
                  <a:cubicBezTo>
                    <a:pt x="732932" y="154660"/>
                    <a:pt x="748179" y="164082"/>
                    <a:pt x="760727" y="176545"/>
                  </a:cubicBezTo>
                  <a:lnTo>
                    <a:pt x="881209" y="296971"/>
                  </a:lnTo>
                  <a:cubicBezTo>
                    <a:pt x="881932" y="297695"/>
                    <a:pt x="882443" y="298598"/>
                    <a:pt x="882690" y="299586"/>
                  </a:cubicBezTo>
                  <a:cubicBezTo>
                    <a:pt x="882937" y="300573"/>
                    <a:pt x="882909" y="301612"/>
                    <a:pt x="882611" y="302582"/>
                  </a:cubicBezTo>
                  <a:cubicBezTo>
                    <a:pt x="880148" y="311364"/>
                    <a:pt x="875322" y="319299"/>
                    <a:pt x="868661" y="325534"/>
                  </a:cubicBezTo>
                  <a:cubicBezTo>
                    <a:pt x="862006" y="331763"/>
                    <a:pt x="853768" y="336056"/>
                    <a:pt x="844845" y="337936"/>
                  </a:cubicBezTo>
                  <a:lnTo>
                    <a:pt x="853599" y="348766"/>
                  </a:lnTo>
                  <a:cubicBezTo>
                    <a:pt x="854104" y="349389"/>
                    <a:pt x="854469" y="350113"/>
                    <a:pt x="854677" y="350887"/>
                  </a:cubicBezTo>
                  <a:cubicBezTo>
                    <a:pt x="854879" y="351662"/>
                    <a:pt x="854912" y="352470"/>
                    <a:pt x="854778" y="353255"/>
                  </a:cubicBezTo>
                  <a:cubicBezTo>
                    <a:pt x="854643" y="354041"/>
                    <a:pt x="854340" y="354787"/>
                    <a:pt x="853897" y="355444"/>
                  </a:cubicBezTo>
                  <a:cubicBezTo>
                    <a:pt x="853453" y="356100"/>
                    <a:pt x="852870" y="356656"/>
                    <a:pt x="852196" y="357071"/>
                  </a:cubicBezTo>
                  <a:lnTo>
                    <a:pt x="839121" y="365096"/>
                  </a:lnTo>
                  <a:cubicBezTo>
                    <a:pt x="829211" y="371179"/>
                    <a:pt x="817820" y="374439"/>
                    <a:pt x="806187" y="374518"/>
                  </a:cubicBezTo>
                  <a:cubicBezTo>
                    <a:pt x="794554" y="374596"/>
                    <a:pt x="783123" y="371493"/>
                    <a:pt x="773129" y="365545"/>
                  </a:cubicBezTo>
                  <a:lnTo>
                    <a:pt x="760446" y="371437"/>
                  </a:lnTo>
                  <a:cubicBezTo>
                    <a:pt x="749593" y="376459"/>
                    <a:pt x="737607" y="378541"/>
                    <a:pt x="725694" y="377486"/>
                  </a:cubicBezTo>
                  <a:cubicBezTo>
                    <a:pt x="713780" y="376437"/>
                    <a:pt x="702355" y="372279"/>
                    <a:pt x="692546" y="365433"/>
                  </a:cubicBezTo>
                  <a:lnTo>
                    <a:pt x="638057" y="327330"/>
                  </a:lnTo>
                  <a:lnTo>
                    <a:pt x="172293" y="424804"/>
                  </a:lnTo>
                  <a:cubicBezTo>
                    <a:pt x="162233" y="426902"/>
                    <a:pt x="151983" y="427957"/>
                    <a:pt x="141708" y="427946"/>
                  </a:cubicBezTo>
                  <a:close/>
                  <a:moveTo>
                    <a:pt x="187779" y="13696"/>
                  </a:moveTo>
                  <a:lnTo>
                    <a:pt x="39970" y="208475"/>
                  </a:lnTo>
                  <a:cubicBezTo>
                    <a:pt x="23950" y="229536"/>
                    <a:pt x="14758" y="254996"/>
                    <a:pt x="13630" y="281432"/>
                  </a:cubicBezTo>
                  <a:cubicBezTo>
                    <a:pt x="12502" y="307868"/>
                    <a:pt x="19492" y="334019"/>
                    <a:pt x="33660" y="356364"/>
                  </a:cubicBezTo>
                  <a:cubicBezTo>
                    <a:pt x="47827" y="378710"/>
                    <a:pt x="68495" y="396190"/>
                    <a:pt x="92886" y="406448"/>
                  </a:cubicBezTo>
                  <a:cubicBezTo>
                    <a:pt x="117276" y="416706"/>
                    <a:pt x="144222" y="419254"/>
                    <a:pt x="170103" y="413749"/>
                  </a:cubicBezTo>
                  <a:lnTo>
                    <a:pt x="638450" y="315775"/>
                  </a:lnTo>
                  <a:cubicBezTo>
                    <a:pt x="639201" y="315612"/>
                    <a:pt x="639981" y="315612"/>
                    <a:pt x="640733" y="315764"/>
                  </a:cubicBezTo>
                  <a:cubicBezTo>
                    <a:pt x="641485" y="315921"/>
                    <a:pt x="642198" y="316230"/>
                    <a:pt x="642827" y="316667"/>
                  </a:cubicBezTo>
                  <a:lnTo>
                    <a:pt x="699280" y="355949"/>
                  </a:lnTo>
                  <a:cubicBezTo>
                    <a:pt x="707467" y="361656"/>
                    <a:pt x="717012" y="365124"/>
                    <a:pt x="726951" y="365999"/>
                  </a:cubicBezTo>
                  <a:cubicBezTo>
                    <a:pt x="736894" y="366875"/>
                    <a:pt x="746894" y="365135"/>
                    <a:pt x="755957" y="360943"/>
                  </a:cubicBezTo>
                  <a:lnTo>
                    <a:pt x="771445" y="353760"/>
                  </a:lnTo>
                  <a:cubicBezTo>
                    <a:pt x="772332" y="353328"/>
                    <a:pt x="773319" y="353137"/>
                    <a:pt x="774301" y="353205"/>
                  </a:cubicBezTo>
                  <a:cubicBezTo>
                    <a:pt x="775289" y="353272"/>
                    <a:pt x="776237" y="353603"/>
                    <a:pt x="777057" y="354153"/>
                  </a:cubicBezTo>
                  <a:cubicBezTo>
                    <a:pt x="785412" y="359720"/>
                    <a:pt x="795177" y="362773"/>
                    <a:pt x="805210" y="362963"/>
                  </a:cubicBezTo>
                  <a:cubicBezTo>
                    <a:pt x="815244" y="363154"/>
                    <a:pt x="825120" y="360466"/>
                    <a:pt x="833678" y="355219"/>
                  </a:cubicBezTo>
                  <a:lnTo>
                    <a:pt x="841254" y="350506"/>
                  </a:lnTo>
                  <a:lnTo>
                    <a:pt x="830030" y="336925"/>
                  </a:lnTo>
                  <a:cubicBezTo>
                    <a:pt x="829408" y="336151"/>
                    <a:pt x="828998" y="335225"/>
                    <a:pt x="828846" y="334237"/>
                  </a:cubicBezTo>
                  <a:cubicBezTo>
                    <a:pt x="828700" y="333250"/>
                    <a:pt x="828818" y="332240"/>
                    <a:pt x="829189" y="331314"/>
                  </a:cubicBezTo>
                  <a:cubicBezTo>
                    <a:pt x="829576" y="330394"/>
                    <a:pt x="830199" y="329585"/>
                    <a:pt x="830996" y="328985"/>
                  </a:cubicBezTo>
                  <a:cubicBezTo>
                    <a:pt x="831793" y="328385"/>
                    <a:pt x="832741" y="328009"/>
                    <a:pt x="833734" y="327891"/>
                  </a:cubicBezTo>
                  <a:lnTo>
                    <a:pt x="838785" y="327330"/>
                  </a:lnTo>
                  <a:cubicBezTo>
                    <a:pt x="845945" y="326555"/>
                    <a:pt x="852746" y="323800"/>
                    <a:pt x="858437" y="319378"/>
                  </a:cubicBezTo>
                  <a:cubicBezTo>
                    <a:pt x="864121" y="314962"/>
                    <a:pt x="868470" y="309053"/>
                    <a:pt x="870995" y="302302"/>
                  </a:cubicBezTo>
                  <a:lnTo>
                    <a:pt x="753151" y="184458"/>
                  </a:lnTo>
                  <a:cubicBezTo>
                    <a:pt x="741838" y="173212"/>
                    <a:pt x="728090" y="164710"/>
                    <a:pt x="712972" y="159609"/>
                  </a:cubicBezTo>
                  <a:cubicBezTo>
                    <a:pt x="697849" y="154514"/>
                    <a:pt x="681760" y="152954"/>
                    <a:pt x="665947" y="155053"/>
                  </a:cubicBezTo>
                  <a:lnTo>
                    <a:pt x="327284" y="201068"/>
                  </a:lnTo>
                  <a:cubicBezTo>
                    <a:pt x="326163" y="201203"/>
                    <a:pt x="325029" y="201001"/>
                    <a:pt x="324028" y="200479"/>
                  </a:cubicBezTo>
                  <a:cubicBezTo>
                    <a:pt x="323027" y="199957"/>
                    <a:pt x="322206" y="199149"/>
                    <a:pt x="321672" y="198150"/>
                  </a:cubicBezTo>
                  <a:cubicBezTo>
                    <a:pt x="321129" y="197134"/>
                    <a:pt x="320915" y="195973"/>
                    <a:pt x="321055" y="194828"/>
                  </a:cubicBezTo>
                  <a:cubicBezTo>
                    <a:pt x="321196" y="193683"/>
                    <a:pt x="321686" y="192611"/>
                    <a:pt x="322458" y="191753"/>
                  </a:cubicBezTo>
                  <a:lnTo>
                    <a:pt x="408877" y="97028"/>
                  </a:lnTo>
                  <a:cubicBezTo>
                    <a:pt x="395819" y="81103"/>
                    <a:pt x="380075" y="67579"/>
                    <a:pt x="362356" y="57074"/>
                  </a:cubicBezTo>
                  <a:cubicBezTo>
                    <a:pt x="330089" y="37545"/>
                    <a:pt x="274254" y="13976"/>
                    <a:pt x="187779" y="13976"/>
                  </a:cubicBezTo>
                  <a:lnTo>
                    <a:pt x="187779" y="13696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136">
              <a:extLst>
                <a:ext uri="{FF2B5EF4-FFF2-40B4-BE49-F238E27FC236}">
                  <a16:creationId xmlns:a16="http://schemas.microsoft.com/office/drawing/2014/main" id="{54E0AE7F-EAFE-FEA3-E619-9886ED68A1FD}"/>
                </a:ext>
              </a:extLst>
            </p:cNvPr>
            <p:cNvSpPr/>
            <p:nvPr/>
          </p:nvSpPr>
          <p:spPr>
            <a:xfrm>
              <a:off x="3728988" y="6083171"/>
              <a:ext cx="101009" cy="89786"/>
            </a:xfrm>
            <a:custGeom>
              <a:avLst/>
              <a:gdLst>
                <a:gd name="connsiteX0" fmla="*/ 95872 w 101009"/>
                <a:gd name="connsiteY0" fmla="*/ 91151 h 89786"/>
                <a:gd name="connsiteX1" fmla="*/ 92168 w 101009"/>
                <a:gd name="connsiteY1" fmla="*/ 89748 h 89786"/>
                <a:gd name="connsiteX2" fmla="*/ 4402 w 101009"/>
                <a:gd name="connsiteY2" fmla="*/ 12307 h 89786"/>
                <a:gd name="connsiteX3" fmla="*/ 3055 w 101009"/>
                <a:gd name="connsiteY3" fmla="*/ 10562 h 89786"/>
                <a:gd name="connsiteX4" fmla="*/ 2483 w 101009"/>
                <a:gd name="connsiteY4" fmla="*/ 8430 h 89786"/>
                <a:gd name="connsiteX5" fmla="*/ 2780 w 101009"/>
                <a:gd name="connsiteY5" fmla="*/ 6241 h 89786"/>
                <a:gd name="connsiteX6" fmla="*/ 3897 w 101009"/>
                <a:gd name="connsiteY6" fmla="*/ 4339 h 89786"/>
                <a:gd name="connsiteX7" fmla="*/ 7763 w 101009"/>
                <a:gd name="connsiteY7" fmla="*/ 2482 h 89786"/>
                <a:gd name="connsiteX8" fmla="*/ 11809 w 101009"/>
                <a:gd name="connsiteY8" fmla="*/ 3890 h 89786"/>
                <a:gd name="connsiteX9" fmla="*/ 99575 w 101009"/>
                <a:gd name="connsiteY9" fmla="*/ 81330 h 89786"/>
                <a:gd name="connsiteX10" fmla="*/ 101466 w 101009"/>
                <a:gd name="connsiteY10" fmla="*/ 85186 h 89786"/>
                <a:gd name="connsiteX11" fmla="*/ 100080 w 101009"/>
                <a:gd name="connsiteY11" fmla="*/ 89243 h 89786"/>
                <a:gd name="connsiteX12" fmla="*/ 98184 w 101009"/>
                <a:gd name="connsiteY12" fmla="*/ 90651 h 89786"/>
                <a:gd name="connsiteX13" fmla="*/ 95872 w 101009"/>
                <a:gd name="connsiteY13" fmla="*/ 91151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009" h="89786">
                  <a:moveTo>
                    <a:pt x="95872" y="91151"/>
                  </a:moveTo>
                  <a:cubicBezTo>
                    <a:pt x="94508" y="91151"/>
                    <a:pt x="93195" y="90651"/>
                    <a:pt x="92168" y="89748"/>
                  </a:cubicBezTo>
                  <a:lnTo>
                    <a:pt x="4402" y="12307"/>
                  </a:lnTo>
                  <a:cubicBezTo>
                    <a:pt x="3841" y="11819"/>
                    <a:pt x="3381" y="11230"/>
                    <a:pt x="3055" y="10562"/>
                  </a:cubicBezTo>
                  <a:cubicBezTo>
                    <a:pt x="2724" y="9894"/>
                    <a:pt x="2533" y="9171"/>
                    <a:pt x="2483" y="8430"/>
                  </a:cubicBezTo>
                  <a:cubicBezTo>
                    <a:pt x="2438" y="7689"/>
                    <a:pt x="2539" y="6948"/>
                    <a:pt x="2780" y="6241"/>
                  </a:cubicBezTo>
                  <a:cubicBezTo>
                    <a:pt x="3022" y="5540"/>
                    <a:pt x="3403" y="4894"/>
                    <a:pt x="3897" y="4339"/>
                  </a:cubicBezTo>
                  <a:cubicBezTo>
                    <a:pt x="4890" y="3233"/>
                    <a:pt x="6276" y="2566"/>
                    <a:pt x="7763" y="2482"/>
                  </a:cubicBezTo>
                  <a:cubicBezTo>
                    <a:pt x="9245" y="2397"/>
                    <a:pt x="10698" y="2902"/>
                    <a:pt x="11809" y="3890"/>
                  </a:cubicBezTo>
                  <a:lnTo>
                    <a:pt x="99575" y="81330"/>
                  </a:lnTo>
                  <a:cubicBezTo>
                    <a:pt x="100692" y="82318"/>
                    <a:pt x="101371" y="83699"/>
                    <a:pt x="101466" y="85186"/>
                  </a:cubicBezTo>
                  <a:cubicBezTo>
                    <a:pt x="101562" y="86667"/>
                    <a:pt x="101062" y="88126"/>
                    <a:pt x="100080" y="89243"/>
                  </a:cubicBezTo>
                  <a:cubicBezTo>
                    <a:pt x="99553" y="89843"/>
                    <a:pt x="98907" y="90320"/>
                    <a:pt x="98184" y="90651"/>
                  </a:cubicBezTo>
                  <a:cubicBezTo>
                    <a:pt x="97454" y="90982"/>
                    <a:pt x="96668" y="91151"/>
                    <a:pt x="95872" y="91151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137">
              <a:extLst>
                <a:ext uri="{FF2B5EF4-FFF2-40B4-BE49-F238E27FC236}">
                  <a16:creationId xmlns:a16="http://schemas.microsoft.com/office/drawing/2014/main" id="{7AE78CBB-318A-0B5F-B672-4A1ACA4CF2A9}"/>
                </a:ext>
              </a:extLst>
            </p:cNvPr>
            <p:cNvSpPr/>
            <p:nvPr/>
          </p:nvSpPr>
          <p:spPr>
            <a:xfrm>
              <a:off x="3760007" y="6029806"/>
              <a:ext cx="129067" cy="117844"/>
            </a:xfrm>
            <a:custGeom>
              <a:avLst/>
              <a:gdLst>
                <a:gd name="connsiteX0" fmla="*/ 121642 w 129067"/>
                <a:gd name="connsiteY0" fmla="*/ 117742 h 117844"/>
                <a:gd name="connsiteX1" fmla="*/ 117882 w 129067"/>
                <a:gd name="connsiteY1" fmla="*/ 116283 h 117844"/>
                <a:gd name="connsiteX2" fmla="*/ 4303 w 129067"/>
                <a:gd name="connsiteY2" fmla="*/ 12243 h 117844"/>
                <a:gd name="connsiteX3" fmla="*/ 2479 w 129067"/>
                <a:gd name="connsiteY3" fmla="*/ 8349 h 117844"/>
                <a:gd name="connsiteX4" fmla="*/ 3938 w 129067"/>
                <a:gd name="connsiteY4" fmla="*/ 4303 h 117844"/>
                <a:gd name="connsiteX5" fmla="*/ 7833 w 129067"/>
                <a:gd name="connsiteY5" fmla="*/ 2479 h 117844"/>
                <a:gd name="connsiteX6" fmla="*/ 11879 w 129067"/>
                <a:gd name="connsiteY6" fmla="*/ 3938 h 117844"/>
                <a:gd name="connsiteX7" fmla="*/ 125458 w 129067"/>
                <a:gd name="connsiteY7" fmla="*/ 107978 h 117844"/>
                <a:gd name="connsiteX8" fmla="*/ 127259 w 129067"/>
                <a:gd name="connsiteY8" fmla="*/ 111867 h 117844"/>
                <a:gd name="connsiteX9" fmla="*/ 125795 w 129067"/>
                <a:gd name="connsiteY9" fmla="*/ 115890 h 117844"/>
                <a:gd name="connsiteX10" fmla="*/ 123915 w 129067"/>
                <a:gd name="connsiteY10" fmla="*/ 117254 h 117844"/>
                <a:gd name="connsiteX11" fmla="*/ 121642 w 129067"/>
                <a:gd name="connsiteY11" fmla="*/ 117742 h 117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067" h="117844">
                  <a:moveTo>
                    <a:pt x="121642" y="117742"/>
                  </a:moveTo>
                  <a:cubicBezTo>
                    <a:pt x="120250" y="117736"/>
                    <a:pt x="118915" y="117220"/>
                    <a:pt x="117882" y="116283"/>
                  </a:cubicBezTo>
                  <a:lnTo>
                    <a:pt x="4303" y="12243"/>
                  </a:lnTo>
                  <a:cubicBezTo>
                    <a:pt x="3203" y="11239"/>
                    <a:pt x="2546" y="9836"/>
                    <a:pt x="2479" y="8349"/>
                  </a:cubicBezTo>
                  <a:cubicBezTo>
                    <a:pt x="2406" y="6862"/>
                    <a:pt x="2934" y="5403"/>
                    <a:pt x="3938" y="4303"/>
                  </a:cubicBezTo>
                  <a:cubicBezTo>
                    <a:pt x="4943" y="3203"/>
                    <a:pt x="6346" y="2547"/>
                    <a:pt x="7833" y="2479"/>
                  </a:cubicBezTo>
                  <a:cubicBezTo>
                    <a:pt x="9325" y="2406"/>
                    <a:pt x="10779" y="2934"/>
                    <a:pt x="11879" y="3938"/>
                  </a:cubicBezTo>
                  <a:lnTo>
                    <a:pt x="125458" y="107978"/>
                  </a:lnTo>
                  <a:cubicBezTo>
                    <a:pt x="126552" y="108982"/>
                    <a:pt x="127198" y="110380"/>
                    <a:pt x="127259" y="111867"/>
                  </a:cubicBezTo>
                  <a:cubicBezTo>
                    <a:pt x="127327" y="113348"/>
                    <a:pt x="126799" y="114796"/>
                    <a:pt x="125795" y="115890"/>
                  </a:cubicBezTo>
                  <a:cubicBezTo>
                    <a:pt x="125273" y="116474"/>
                    <a:pt x="124627" y="116939"/>
                    <a:pt x="123915" y="117254"/>
                  </a:cubicBezTo>
                  <a:cubicBezTo>
                    <a:pt x="123196" y="117574"/>
                    <a:pt x="122428" y="117742"/>
                    <a:pt x="121642" y="117742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138">
              <a:extLst>
                <a:ext uri="{FF2B5EF4-FFF2-40B4-BE49-F238E27FC236}">
                  <a16:creationId xmlns:a16="http://schemas.microsoft.com/office/drawing/2014/main" id="{1008D867-B5E5-44FA-537C-2AAFA5766E59}"/>
                </a:ext>
              </a:extLst>
            </p:cNvPr>
            <p:cNvSpPr/>
            <p:nvPr/>
          </p:nvSpPr>
          <p:spPr>
            <a:xfrm>
              <a:off x="3458775" y="5803058"/>
              <a:ext cx="106621" cy="106621"/>
            </a:xfrm>
            <a:custGeom>
              <a:avLst/>
              <a:gdLst>
                <a:gd name="connsiteX0" fmla="*/ 8174 w 106620"/>
                <a:gd name="connsiteY0" fmla="*/ 109711 h 106620"/>
                <a:gd name="connsiteX1" fmla="*/ 5035 w 106620"/>
                <a:gd name="connsiteY1" fmla="*/ 108808 h 106620"/>
                <a:gd name="connsiteX2" fmla="*/ 2928 w 106620"/>
                <a:gd name="connsiteY2" fmla="*/ 106311 h 106620"/>
                <a:gd name="connsiteX3" fmla="*/ 2568 w 106620"/>
                <a:gd name="connsiteY3" fmla="*/ 103067 h 106620"/>
                <a:gd name="connsiteX4" fmla="*/ 4078 w 106620"/>
                <a:gd name="connsiteY4" fmla="*/ 100171 h 106620"/>
                <a:gd name="connsiteX5" fmla="*/ 95771 w 106620"/>
                <a:gd name="connsiteY5" fmla="*/ 4213 h 106620"/>
                <a:gd name="connsiteX6" fmla="*/ 97574 w 106620"/>
                <a:gd name="connsiteY6" fmla="*/ 2950 h 106620"/>
                <a:gd name="connsiteX7" fmla="*/ 99722 w 106620"/>
                <a:gd name="connsiteY7" fmla="*/ 2473 h 106620"/>
                <a:gd name="connsiteX8" fmla="*/ 101887 w 106620"/>
                <a:gd name="connsiteY8" fmla="*/ 2860 h 106620"/>
                <a:gd name="connsiteX9" fmla="*/ 103739 w 106620"/>
                <a:gd name="connsiteY9" fmla="*/ 4044 h 106620"/>
                <a:gd name="connsiteX10" fmla="*/ 105000 w 106620"/>
                <a:gd name="connsiteY10" fmla="*/ 5846 h 106620"/>
                <a:gd name="connsiteX11" fmla="*/ 105474 w 106620"/>
                <a:gd name="connsiteY11" fmla="*/ 7989 h 106620"/>
                <a:gd name="connsiteX12" fmla="*/ 105093 w 106620"/>
                <a:gd name="connsiteY12" fmla="*/ 10155 h 106620"/>
                <a:gd name="connsiteX13" fmla="*/ 103909 w 106620"/>
                <a:gd name="connsiteY13" fmla="*/ 12013 h 106620"/>
                <a:gd name="connsiteX14" fmla="*/ 12216 w 106620"/>
                <a:gd name="connsiteY14" fmla="*/ 107972 h 106620"/>
                <a:gd name="connsiteX15" fmla="*/ 10372 w 106620"/>
                <a:gd name="connsiteY15" fmla="*/ 109251 h 106620"/>
                <a:gd name="connsiteX16" fmla="*/ 8174 w 106620"/>
                <a:gd name="connsiteY16" fmla="*/ 109711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6620" h="106620">
                  <a:moveTo>
                    <a:pt x="8174" y="109711"/>
                  </a:moveTo>
                  <a:cubicBezTo>
                    <a:pt x="7062" y="109728"/>
                    <a:pt x="5968" y="109414"/>
                    <a:pt x="5035" y="108808"/>
                  </a:cubicBezTo>
                  <a:cubicBezTo>
                    <a:pt x="4100" y="108202"/>
                    <a:pt x="3366" y="107332"/>
                    <a:pt x="2928" y="106311"/>
                  </a:cubicBezTo>
                  <a:cubicBezTo>
                    <a:pt x="2488" y="105289"/>
                    <a:pt x="2364" y="104161"/>
                    <a:pt x="2568" y="103067"/>
                  </a:cubicBezTo>
                  <a:cubicBezTo>
                    <a:pt x="2773" y="101973"/>
                    <a:pt x="3299" y="100963"/>
                    <a:pt x="4078" y="100171"/>
                  </a:cubicBezTo>
                  <a:lnTo>
                    <a:pt x="95771" y="4213"/>
                  </a:lnTo>
                  <a:cubicBezTo>
                    <a:pt x="96284" y="3674"/>
                    <a:pt x="96896" y="3248"/>
                    <a:pt x="97574" y="2950"/>
                  </a:cubicBezTo>
                  <a:cubicBezTo>
                    <a:pt x="98252" y="2653"/>
                    <a:pt x="98983" y="2490"/>
                    <a:pt x="99722" y="2473"/>
                  </a:cubicBezTo>
                  <a:cubicBezTo>
                    <a:pt x="100463" y="2462"/>
                    <a:pt x="101198" y="2591"/>
                    <a:pt x="101887" y="2860"/>
                  </a:cubicBezTo>
                  <a:cubicBezTo>
                    <a:pt x="102577" y="3130"/>
                    <a:pt x="103205" y="3528"/>
                    <a:pt x="103739" y="4044"/>
                  </a:cubicBezTo>
                  <a:cubicBezTo>
                    <a:pt x="104274" y="4555"/>
                    <a:pt x="104702" y="5167"/>
                    <a:pt x="105000" y="5846"/>
                  </a:cubicBezTo>
                  <a:cubicBezTo>
                    <a:pt x="105298" y="6525"/>
                    <a:pt x="105458" y="7254"/>
                    <a:pt x="105474" y="7989"/>
                  </a:cubicBezTo>
                  <a:cubicBezTo>
                    <a:pt x="105490" y="8730"/>
                    <a:pt x="105362" y="9465"/>
                    <a:pt x="105093" y="10155"/>
                  </a:cubicBezTo>
                  <a:cubicBezTo>
                    <a:pt x="104825" y="10846"/>
                    <a:pt x="104422" y="11474"/>
                    <a:pt x="103909" y="12013"/>
                  </a:cubicBezTo>
                  <a:lnTo>
                    <a:pt x="12216" y="107972"/>
                  </a:lnTo>
                  <a:cubicBezTo>
                    <a:pt x="11695" y="108516"/>
                    <a:pt x="11067" y="108954"/>
                    <a:pt x="10372" y="109251"/>
                  </a:cubicBezTo>
                  <a:cubicBezTo>
                    <a:pt x="9678" y="109549"/>
                    <a:pt x="8931" y="109706"/>
                    <a:pt x="8174" y="109711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139">
              <a:extLst>
                <a:ext uri="{FF2B5EF4-FFF2-40B4-BE49-F238E27FC236}">
                  <a16:creationId xmlns:a16="http://schemas.microsoft.com/office/drawing/2014/main" id="{41140659-BCF5-FBA3-7A53-1364E6C22E7E}"/>
                </a:ext>
              </a:extLst>
            </p:cNvPr>
            <p:cNvSpPr/>
            <p:nvPr/>
          </p:nvSpPr>
          <p:spPr>
            <a:xfrm>
              <a:off x="3601571" y="6170446"/>
              <a:ext cx="667784" cy="56116"/>
            </a:xfrm>
            <a:custGeom>
              <a:avLst/>
              <a:gdLst>
                <a:gd name="connsiteX0" fmla="*/ 665541 w 667783"/>
                <a:gd name="connsiteY0" fmla="*/ 54773 h 56116"/>
                <a:gd name="connsiteX1" fmla="*/ 2472 w 667783"/>
                <a:gd name="connsiteY1" fmla="*/ 54773 h 56116"/>
                <a:gd name="connsiteX2" fmla="*/ 2472 w 667783"/>
                <a:gd name="connsiteY2" fmla="*/ 42596 h 56116"/>
                <a:gd name="connsiteX3" fmla="*/ 14222 w 667783"/>
                <a:gd name="connsiteY3" fmla="*/ 14223 h 56116"/>
                <a:gd name="connsiteX4" fmla="*/ 42594 w 667783"/>
                <a:gd name="connsiteY4" fmla="*/ 2472 h 56116"/>
                <a:gd name="connsiteX5" fmla="*/ 665485 w 667783"/>
                <a:gd name="connsiteY5" fmla="*/ 2472 h 56116"/>
                <a:gd name="connsiteX6" fmla="*/ 665485 w 667783"/>
                <a:gd name="connsiteY6" fmla="*/ 54773 h 56116"/>
                <a:gd name="connsiteX7" fmla="*/ 665541 w 667783"/>
                <a:gd name="connsiteY7" fmla="*/ 54773 h 5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7783" h="56116">
                  <a:moveTo>
                    <a:pt x="665541" y="54773"/>
                  </a:moveTo>
                  <a:lnTo>
                    <a:pt x="2472" y="54773"/>
                  </a:lnTo>
                  <a:lnTo>
                    <a:pt x="2472" y="42596"/>
                  </a:lnTo>
                  <a:cubicBezTo>
                    <a:pt x="2472" y="31956"/>
                    <a:pt x="6700" y="21748"/>
                    <a:pt x="14222" y="14223"/>
                  </a:cubicBezTo>
                  <a:cubicBezTo>
                    <a:pt x="21747" y="6704"/>
                    <a:pt x="31955" y="2472"/>
                    <a:pt x="42594" y="2472"/>
                  </a:cubicBezTo>
                  <a:lnTo>
                    <a:pt x="665485" y="2472"/>
                  </a:lnTo>
                  <a:lnTo>
                    <a:pt x="665485" y="54773"/>
                  </a:lnTo>
                  <a:lnTo>
                    <a:pt x="665541" y="54773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140">
              <a:extLst>
                <a:ext uri="{FF2B5EF4-FFF2-40B4-BE49-F238E27FC236}">
                  <a16:creationId xmlns:a16="http://schemas.microsoft.com/office/drawing/2014/main" id="{0180F74C-82FB-8165-994D-8D55978C704C}"/>
                </a:ext>
              </a:extLst>
            </p:cNvPr>
            <p:cNvSpPr/>
            <p:nvPr/>
          </p:nvSpPr>
          <p:spPr>
            <a:xfrm>
              <a:off x="4007346" y="5743676"/>
              <a:ext cx="740735" cy="482600"/>
            </a:xfrm>
            <a:custGeom>
              <a:avLst/>
              <a:gdLst>
                <a:gd name="connsiteX0" fmla="*/ 2472 w 740734"/>
                <a:gd name="connsiteY0" fmla="*/ 481537 h 482599"/>
                <a:gd name="connsiteX1" fmla="*/ 605386 w 740734"/>
                <a:gd name="connsiteY1" fmla="*/ 481537 h 482599"/>
                <a:gd name="connsiteX2" fmla="*/ 737876 w 740734"/>
                <a:gd name="connsiteY2" fmla="*/ 81035 h 482599"/>
                <a:gd name="connsiteX3" fmla="*/ 740216 w 740734"/>
                <a:gd name="connsiteY3" fmla="*/ 53145 h 482599"/>
                <a:gd name="connsiteX4" fmla="*/ 729599 w 740734"/>
                <a:gd name="connsiteY4" fmla="*/ 27248 h 482599"/>
                <a:gd name="connsiteX5" fmla="*/ 708354 w 740734"/>
                <a:gd name="connsiteY5" fmla="*/ 9027 h 482599"/>
                <a:gd name="connsiteX6" fmla="*/ 681143 w 740734"/>
                <a:gd name="connsiteY6" fmla="*/ 2472 h 482599"/>
                <a:gd name="connsiteX7" fmla="*/ 204154 w 740734"/>
                <a:gd name="connsiteY7" fmla="*/ 2472 h 482599"/>
                <a:gd name="connsiteX8" fmla="*/ 169138 w 740734"/>
                <a:gd name="connsiteY8" fmla="*/ 13780 h 482599"/>
                <a:gd name="connsiteX9" fmla="*/ 147365 w 740734"/>
                <a:gd name="connsiteY9" fmla="*/ 43437 h 482599"/>
                <a:gd name="connsiteX10" fmla="*/ 2472 w 740734"/>
                <a:gd name="connsiteY10" fmla="*/ 481537 h 48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0734" h="482599">
                  <a:moveTo>
                    <a:pt x="2472" y="481537"/>
                  </a:moveTo>
                  <a:lnTo>
                    <a:pt x="605386" y="481537"/>
                  </a:lnTo>
                  <a:lnTo>
                    <a:pt x="737876" y="81035"/>
                  </a:lnTo>
                  <a:cubicBezTo>
                    <a:pt x="740850" y="72057"/>
                    <a:pt x="741653" y="62494"/>
                    <a:pt x="740216" y="53145"/>
                  </a:cubicBezTo>
                  <a:cubicBezTo>
                    <a:pt x="738774" y="43796"/>
                    <a:pt x="735138" y="34919"/>
                    <a:pt x="729599" y="27248"/>
                  </a:cubicBezTo>
                  <a:cubicBezTo>
                    <a:pt x="724055" y="19577"/>
                    <a:pt x="716776" y="13331"/>
                    <a:pt x="708354" y="9027"/>
                  </a:cubicBezTo>
                  <a:cubicBezTo>
                    <a:pt x="699930" y="4717"/>
                    <a:pt x="690604" y="2472"/>
                    <a:pt x="681143" y="2472"/>
                  </a:cubicBezTo>
                  <a:lnTo>
                    <a:pt x="204154" y="2472"/>
                  </a:lnTo>
                  <a:cubicBezTo>
                    <a:pt x="191584" y="2472"/>
                    <a:pt x="179334" y="6423"/>
                    <a:pt x="169138" y="13780"/>
                  </a:cubicBezTo>
                  <a:cubicBezTo>
                    <a:pt x="158947" y="21131"/>
                    <a:pt x="151326" y="31507"/>
                    <a:pt x="147365" y="43437"/>
                  </a:cubicBezTo>
                  <a:lnTo>
                    <a:pt x="2472" y="481537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141">
              <a:extLst>
                <a:ext uri="{FF2B5EF4-FFF2-40B4-BE49-F238E27FC236}">
                  <a16:creationId xmlns:a16="http://schemas.microsoft.com/office/drawing/2014/main" id="{A9851352-4BD6-0313-6698-C07DC9EE6BE3}"/>
                </a:ext>
              </a:extLst>
            </p:cNvPr>
            <p:cNvSpPr/>
            <p:nvPr/>
          </p:nvSpPr>
          <p:spPr>
            <a:xfrm>
              <a:off x="4372854" y="5950094"/>
              <a:ext cx="89786" cy="89786"/>
            </a:xfrm>
            <a:custGeom>
              <a:avLst/>
              <a:gdLst>
                <a:gd name="connsiteX0" fmla="*/ 74992 w 89786"/>
                <a:gd name="connsiteY0" fmla="*/ 74992 h 89786"/>
                <a:gd name="connsiteX1" fmla="*/ 74986 w 89786"/>
                <a:gd name="connsiteY1" fmla="*/ 14913 h 89786"/>
                <a:gd name="connsiteX2" fmla="*/ 14913 w 89786"/>
                <a:gd name="connsiteY2" fmla="*/ 14913 h 89786"/>
                <a:gd name="connsiteX3" fmla="*/ 14913 w 89786"/>
                <a:gd name="connsiteY3" fmla="*/ 74992 h 89786"/>
                <a:gd name="connsiteX4" fmla="*/ 74992 w 89786"/>
                <a:gd name="connsiteY4" fmla="*/ 74992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86" h="89786">
                  <a:moveTo>
                    <a:pt x="74992" y="74992"/>
                  </a:moveTo>
                  <a:cubicBezTo>
                    <a:pt x="91579" y="58398"/>
                    <a:pt x="91579" y="31501"/>
                    <a:pt x="74986" y="14913"/>
                  </a:cubicBezTo>
                  <a:cubicBezTo>
                    <a:pt x="58398" y="-1675"/>
                    <a:pt x="31501" y="-1675"/>
                    <a:pt x="14913" y="14913"/>
                  </a:cubicBezTo>
                  <a:cubicBezTo>
                    <a:pt x="-1675" y="31501"/>
                    <a:pt x="-1675" y="58398"/>
                    <a:pt x="14913" y="74992"/>
                  </a:cubicBezTo>
                  <a:cubicBezTo>
                    <a:pt x="31501" y="91579"/>
                    <a:pt x="58398" y="91579"/>
                    <a:pt x="74992" y="7499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142">
              <a:extLst>
                <a:ext uri="{FF2B5EF4-FFF2-40B4-BE49-F238E27FC236}">
                  <a16:creationId xmlns:a16="http://schemas.microsoft.com/office/drawing/2014/main" id="{1ADB66AF-ADFF-F1C0-EC71-4583161F6D15}"/>
                </a:ext>
              </a:extLst>
            </p:cNvPr>
            <p:cNvSpPr/>
            <p:nvPr/>
          </p:nvSpPr>
          <p:spPr>
            <a:xfrm>
              <a:off x="4367221" y="5944467"/>
              <a:ext cx="101009" cy="101009"/>
            </a:xfrm>
            <a:custGeom>
              <a:avLst/>
              <a:gdLst>
                <a:gd name="connsiteX0" fmla="*/ 50563 w 101009"/>
                <a:gd name="connsiteY0" fmla="*/ 98655 h 101009"/>
                <a:gd name="connsiteX1" fmla="*/ 23846 w 101009"/>
                <a:gd name="connsiteY1" fmla="*/ 90551 h 101009"/>
                <a:gd name="connsiteX2" fmla="*/ 6136 w 101009"/>
                <a:gd name="connsiteY2" fmla="*/ 68969 h 101009"/>
                <a:gd name="connsiteX3" fmla="*/ 3397 w 101009"/>
                <a:gd name="connsiteY3" fmla="*/ 41186 h 101009"/>
                <a:gd name="connsiteX4" fmla="*/ 16557 w 101009"/>
                <a:gd name="connsiteY4" fmla="*/ 16562 h 101009"/>
                <a:gd name="connsiteX5" fmla="*/ 41180 w 101009"/>
                <a:gd name="connsiteY5" fmla="*/ 3397 h 101009"/>
                <a:gd name="connsiteX6" fmla="*/ 68969 w 101009"/>
                <a:gd name="connsiteY6" fmla="*/ 6136 h 101009"/>
                <a:gd name="connsiteX7" fmla="*/ 90551 w 101009"/>
                <a:gd name="connsiteY7" fmla="*/ 23846 h 101009"/>
                <a:gd name="connsiteX8" fmla="*/ 98655 w 101009"/>
                <a:gd name="connsiteY8" fmla="*/ 50563 h 101009"/>
                <a:gd name="connsiteX9" fmla="*/ 84536 w 101009"/>
                <a:gd name="connsiteY9" fmla="*/ 84541 h 101009"/>
                <a:gd name="connsiteX10" fmla="*/ 50563 w 101009"/>
                <a:gd name="connsiteY10" fmla="*/ 98655 h 101009"/>
                <a:gd name="connsiteX11" fmla="*/ 50563 w 101009"/>
                <a:gd name="connsiteY11" fmla="*/ 13695 h 101009"/>
                <a:gd name="connsiteX12" fmla="*/ 30081 w 101009"/>
                <a:gd name="connsiteY12" fmla="*/ 19912 h 101009"/>
                <a:gd name="connsiteX13" fmla="*/ 16500 w 101009"/>
                <a:gd name="connsiteY13" fmla="*/ 36455 h 101009"/>
                <a:gd name="connsiteX14" fmla="*/ 14402 w 101009"/>
                <a:gd name="connsiteY14" fmla="*/ 57757 h 101009"/>
                <a:gd name="connsiteX15" fmla="*/ 24497 w 101009"/>
                <a:gd name="connsiteY15" fmla="*/ 76635 h 101009"/>
                <a:gd name="connsiteX16" fmla="*/ 43369 w 101009"/>
                <a:gd name="connsiteY16" fmla="*/ 86724 h 101009"/>
                <a:gd name="connsiteX17" fmla="*/ 64671 w 101009"/>
                <a:gd name="connsiteY17" fmla="*/ 84626 h 101009"/>
                <a:gd name="connsiteX18" fmla="*/ 81219 w 101009"/>
                <a:gd name="connsiteY18" fmla="*/ 71051 h 101009"/>
                <a:gd name="connsiteX19" fmla="*/ 87431 w 101009"/>
                <a:gd name="connsiteY19" fmla="*/ 50563 h 101009"/>
                <a:gd name="connsiteX20" fmla="*/ 76595 w 101009"/>
                <a:gd name="connsiteY20" fmla="*/ 24548 h 101009"/>
                <a:gd name="connsiteX21" fmla="*/ 50563 w 101009"/>
                <a:gd name="connsiteY21" fmla="*/ 13751 h 101009"/>
                <a:gd name="connsiteX22" fmla="*/ 50563 w 101009"/>
                <a:gd name="connsiteY22" fmla="*/ 13695 h 10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009" h="101009">
                  <a:moveTo>
                    <a:pt x="50563" y="98655"/>
                  </a:moveTo>
                  <a:cubicBezTo>
                    <a:pt x="41051" y="98655"/>
                    <a:pt x="31753" y="95838"/>
                    <a:pt x="23846" y="90551"/>
                  </a:cubicBezTo>
                  <a:cubicBezTo>
                    <a:pt x="15939" y="85265"/>
                    <a:pt x="9772" y="77757"/>
                    <a:pt x="6136" y="68969"/>
                  </a:cubicBezTo>
                  <a:cubicBezTo>
                    <a:pt x="2494" y="60181"/>
                    <a:pt x="1540" y="50513"/>
                    <a:pt x="3397" y="41186"/>
                  </a:cubicBezTo>
                  <a:cubicBezTo>
                    <a:pt x="5249" y="31854"/>
                    <a:pt x="9828" y="23285"/>
                    <a:pt x="16557" y="16562"/>
                  </a:cubicBezTo>
                  <a:cubicBezTo>
                    <a:pt x="23285" y="9834"/>
                    <a:pt x="31854" y="5255"/>
                    <a:pt x="41180" y="3397"/>
                  </a:cubicBezTo>
                  <a:cubicBezTo>
                    <a:pt x="50513" y="1540"/>
                    <a:pt x="60181" y="2494"/>
                    <a:pt x="68969" y="6136"/>
                  </a:cubicBezTo>
                  <a:cubicBezTo>
                    <a:pt x="77757" y="9772"/>
                    <a:pt x="85265" y="15939"/>
                    <a:pt x="90551" y="23846"/>
                  </a:cubicBezTo>
                  <a:cubicBezTo>
                    <a:pt x="95838" y="31759"/>
                    <a:pt x="98655" y="41051"/>
                    <a:pt x="98655" y="50563"/>
                  </a:cubicBezTo>
                  <a:cubicBezTo>
                    <a:pt x="98627" y="63313"/>
                    <a:pt x="93548" y="75529"/>
                    <a:pt x="84536" y="84541"/>
                  </a:cubicBezTo>
                  <a:cubicBezTo>
                    <a:pt x="75524" y="93554"/>
                    <a:pt x="63307" y="98627"/>
                    <a:pt x="50563" y="98655"/>
                  </a:cubicBezTo>
                  <a:close/>
                  <a:moveTo>
                    <a:pt x="50563" y="13695"/>
                  </a:moveTo>
                  <a:cubicBezTo>
                    <a:pt x="43274" y="13695"/>
                    <a:pt x="36147" y="15861"/>
                    <a:pt x="30081" y="19912"/>
                  </a:cubicBezTo>
                  <a:cubicBezTo>
                    <a:pt x="24020" y="23964"/>
                    <a:pt x="19295" y="29721"/>
                    <a:pt x="16500" y="36455"/>
                  </a:cubicBezTo>
                  <a:cubicBezTo>
                    <a:pt x="13712" y="43195"/>
                    <a:pt x="12982" y="50608"/>
                    <a:pt x="14402" y="57757"/>
                  </a:cubicBezTo>
                  <a:cubicBezTo>
                    <a:pt x="15827" y="64912"/>
                    <a:pt x="19340" y="71478"/>
                    <a:pt x="24497" y="76635"/>
                  </a:cubicBezTo>
                  <a:cubicBezTo>
                    <a:pt x="29649" y="81792"/>
                    <a:pt x="36220" y="85305"/>
                    <a:pt x="43369" y="86724"/>
                  </a:cubicBezTo>
                  <a:cubicBezTo>
                    <a:pt x="50524" y="88150"/>
                    <a:pt x="57937" y="87420"/>
                    <a:pt x="64671" y="84626"/>
                  </a:cubicBezTo>
                  <a:cubicBezTo>
                    <a:pt x="71410" y="81837"/>
                    <a:pt x="77168" y="77112"/>
                    <a:pt x="81219" y="71051"/>
                  </a:cubicBezTo>
                  <a:cubicBezTo>
                    <a:pt x="85271" y="64985"/>
                    <a:pt x="87431" y="57858"/>
                    <a:pt x="87431" y="50563"/>
                  </a:cubicBezTo>
                  <a:cubicBezTo>
                    <a:pt x="87403" y="40804"/>
                    <a:pt x="83509" y="31450"/>
                    <a:pt x="76595" y="24548"/>
                  </a:cubicBezTo>
                  <a:cubicBezTo>
                    <a:pt x="69687" y="17651"/>
                    <a:pt x="60327" y="13768"/>
                    <a:pt x="50563" y="13751"/>
                  </a:cubicBezTo>
                  <a:lnTo>
                    <a:pt x="50563" y="13695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143">
              <a:extLst>
                <a:ext uri="{FF2B5EF4-FFF2-40B4-BE49-F238E27FC236}">
                  <a16:creationId xmlns:a16="http://schemas.microsoft.com/office/drawing/2014/main" id="{012D951D-DE3D-C765-F648-9342DF95D3B0}"/>
                </a:ext>
              </a:extLst>
            </p:cNvPr>
            <p:cNvSpPr/>
            <p:nvPr/>
          </p:nvSpPr>
          <p:spPr>
            <a:xfrm>
              <a:off x="3782254" y="5312820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81095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8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 err="1"/>
              <a:t>Рассчеты</a:t>
            </a:r>
            <a:r>
              <a:rPr lang="ru-RU" sz="4000" dirty="0"/>
              <a:t> (оценки)</a:t>
            </a:r>
          </a:p>
        </p:txBody>
      </p:sp>
    </p:spTree>
    <p:extLst>
      <p:ext uri="{BB962C8B-B14F-4D97-AF65-F5344CB8AC3E}">
        <p14:creationId xmlns:p14="http://schemas.microsoft.com/office/powerpoint/2010/main" val="18476015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3">
            <a:extLst>
              <a:ext uri="{FF2B5EF4-FFF2-40B4-BE49-F238E27FC236}">
                <a16:creationId xmlns:a16="http://schemas.microsoft.com/office/drawing/2014/main" id="{083594A0-119F-98A2-4957-CECCBF9DD188}"/>
              </a:ext>
            </a:extLst>
          </p:cNvPr>
          <p:cNvSpPr txBox="1">
            <a:spLocks/>
          </p:cNvSpPr>
          <p:nvPr/>
        </p:nvSpPr>
        <p:spPr>
          <a:xfrm>
            <a:off x="3597165" y="809507"/>
            <a:ext cx="5662450" cy="5520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медиа-данных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1.7 </a:t>
            </a:r>
            <a:r>
              <a:rPr lang="en-US" sz="1800" b="0" dirty="0">
                <a:effectLst/>
              </a:rPr>
              <a:t>TB (20 </a:t>
            </a:r>
            <a:r>
              <a:rPr lang="ru-RU" sz="1800" b="0" dirty="0">
                <a:effectLst/>
              </a:rPr>
              <a:t>курсов, каждый по 85 </a:t>
            </a:r>
            <a:r>
              <a:rPr lang="en-US" sz="1800" b="0" dirty="0">
                <a:effectLst/>
              </a:rPr>
              <a:t>GB)</a:t>
            </a:r>
            <a:endParaRPr lang="ru-RU" sz="1800" b="0" dirty="0">
              <a:effectLst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5</a:t>
            </a:r>
            <a:r>
              <a:rPr lang="ru-RU" sz="1800" b="0" dirty="0">
                <a:effectLst/>
              </a:rPr>
              <a:t>г: 3.4 </a:t>
            </a:r>
            <a:r>
              <a:rPr lang="en-US" sz="1800" b="0" dirty="0">
                <a:effectLst/>
              </a:rPr>
              <a:t>TB (40 </a:t>
            </a:r>
            <a:r>
              <a:rPr lang="ru-RU" sz="1800" b="0" dirty="0">
                <a:effectLst/>
              </a:rPr>
              <a:t>курсов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6г: 6.8 </a:t>
            </a:r>
            <a:r>
              <a:rPr lang="en-US" sz="1800" b="0" dirty="0">
                <a:effectLst/>
              </a:rPr>
              <a:t>TB (80 </a:t>
            </a:r>
            <a:r>
              <a:rPr lang="ru-RU" sz="1800" b="0" dirty="0">
                <a:effectLst/>
              </a:rPr>
              <a:t>курсов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просмотров уроков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10 млн. в год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5г: 20 млн. в год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6г: 40 млн. в год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запросов в ЧНН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5 </a:t>
            </a:r>
            <a:r>
              <a:rPr lang="en-US" sz="1800" b="0" dirty="0" err="1">
                <a:effectLst/>
              </a:rPr>
              <a:t>rps</a:t>
            </a:r>
            <a:endParaRPr lang="ru-RU" sz="1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5</a:t>
            </a:r>
            <a:r>
              <a:rPr lang="ru-RU" sz="1800" b="0" dirty="0">
                <a:effectLst/>
              </a:rPr>
              <a:t>г: 10 </a:t>
            </a:r>
            <a:r>
              <a:rPr lang="en-US" sz="1800" b="0" dirty="0" err="1">
                <a:effectLst/>
              </a:rPr>
              <a:t>rps</a:t>
            </a:r>
            <a:endParaRPr lang="ru-RU" sz="1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</a:t>
            </a:r>
            <a:r>
              <a:rPr lang="ru-RU" sz="1800" b="0" dirty="0">
                <a:effectLst/>
              </a:rPr>
              <a:t>6г: 20 </a:t>
            </a:r>
            <a:r>
              <a:rPr lang="en-US" sz="1800" b="0" dirty="0" err="1">
                <a:effectLst/>
              </a:rPr>
              <a:t>rps</a:t>
            </a:r>
            <a:endParaRPr lang="ru-RU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метаданных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35 </a:t>
            </a:r>
            <a:r>
              <a:rPr lang="en-US" sz="1800" b="0" dirty="0">
                <a:effectLst/>
              </a:rPr>
              <a:t>MB</a:t>
            </a:r>
            <a:endParaRPr lang="ru-RU" sz="1800" b="0" dirty="0">
              <a:effectLst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</a:t>
            </a:r>
            <a:r>
              <a:rPr lang="ru-RU" sz="1800" b="0" dirty="0">
                <a:effectLst/>
              </a:rPr>
              <a:t>5г: 70 </a:t>
            </a:r>
            <a:r>
              <a:rPr lang="en-US" sz="1800" b="0" dirty="0">
                <a:effectLst/>
              </a:rPr>
              <a:t>MB</a:t>
            </a:r>
            <a:endParaRPr lang="ru-RU" sz="1800" b="0" dirty="0">
              <a:effectLst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</a:t>
            </a:r>
            <a:r>
              <a:rPr lang="ru-RU" sz="1800" b="0" dirty="0">
                <a:effectLst/>
              </a:rPr>
              <a:t>6г: 140 </a:t>
            </a:r>
            <a:r>
              <a:rPr lang="en-US" sz="1800" b="0" dirty="0">
                <a:effectLst/>
              </a:rPr>
              <a:t>M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>
              <a:effectLst/>
            </a:endParaRPr>
          </a:p>
        </p:txBody>
      </p:sp>
      <p:pic>
        <p:nvPicPr>
          <p:cNvPr id="14" name="Рисунок 13" descr="Описание, учеба, рабочий процесс, обучение">
            <a:extLst>
              <a:ext uri="{FF2B5EF4-FFF2-40B4-BE49-F238E27FC236}">
                <a16:creationId xmlns:a16="http://schemas.microsoft.com/office/drawing/2014/main" id="{04C5D770-D386-D437-D333-ADCD3C96C87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5793" y="164883"/>
            <a:ext cx="1700323" cy="1268228"/>
          </a:xfrm>
          <a:prstGeom prst="rect">
            <a:avLst/>
          </a:prstGeom>
        </p:spPr>
      </p:pic>
      <p:pic>
        <p:nvPicPr>
          <p:cNvPr id="15" name="Рисунок 14" descr="Поиск">
            <a:extLst>
              <a:ext uri="{FF2B5EF4-FFF2-40B4-BE49-F238E27FC236}">
                <a16:creationId xmlns:a16="http://schemas.microsoft.com/office/drawing/2014/main" id="{038DF6AB-0A7A-D0FD-AC32-72E070F6AC5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5709" y="5384352"/>
            <a:ext cx="1268228" cy="125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7008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9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Архитектурный стиль</a:t>
            </a:r>
          </a:p>
        </p:txBody>
      </p:sp>
    </p:spTree>
    <p:extLst>
      <p:ext uri="{BB962C8B-B14F-4D97-AF65-F5344CB8AC3E}">
        <p14:creationId xmlns:p14="http://schemas.microsoft.com/office/powerpoint/2010/main" val="1352560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481502" y="5213131"/>
            <a:ext cx="2776706" cy="1151114"/>
          </a:xfrm>
        </p:spPr>
        <p:txBody>
          <a:bodyPr/>
          <a:lstStyle/>
          <a:p>
            <a:r>
              <a:rPr lang="ru-RU" dirty="0"/>
              <a:t>01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26596" y="480264"/>
            <a:ext cx="11074224" cy="959653"/>
          </a:xfrm>
        </p:spPr>
        <p:txBody>
          <a:bodyPr/>
          <a:lstStyle/>
          <a:p>
            <a:r>
              <a:rPr lang="ru-RU" dirty="0"/>
              <a:t>Бизнес-кейс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99C60D-53FF-F2FD-9539-B84846859DEA}"/>
              </a:ext>
            </a:extLst>
          </p:cNvPr>
          <p:cNvSpPr txBox="1"/>
          <p:nvPr/>
        </p:nvSpPr>
        <p:spPr>
          <a:xfrm>
            <a:off x="788276" y="1660634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7078493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3">
            <a:extLst>
              <a:ext uri="{FF2B5EF4-FFF2-40B4-BE49-F238E27FC236}">
                <a16:creationId xmlns:a16="http://schemas.microsoft.com/office/drawing/2014/main" id="{87F3C698-CC2E-198E-FEDF-5B88217C4C09}"/>
              </a:ext>
            </a:extLst>
          </p:cNvPr>
          <p:cNvSpPr txBox="1">
            <a:spLocks/>
          </p:cNvSpPr>
          <p:nvPr/>
        </p:nvSpPr>
        <p:spPr>
          <a:xfrm>
            <a:off x="3019097" y="1235066"/>
            <a:ext cx="5662450" cy="43878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Проект с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небольшим профилем нагрузки, но возможностями гор. масштабир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базовым набором функционала для образовательной платфор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требованиями к расширяемости ф-ла без перестроения архитектуры</a:t>
            </a:r>
            <a:endParaRPr lang="ru-RU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выровнен с </a:t>
            </a:r>
            <a:r>
              <a:rPr lang="ru-RU" sz="1800" b="0" dirty="0" err="1">
                <a:effectLst/>
              </a:rPr>
              <a:t>техностратегией</a:t>
            </a:r>
            <a:endParaRPr lang="ru-RU" sz="1800" b="0" dirty="0">
              <a:effectLst/>
            </a:endParaRPr>
          </a:p>
          <a:p>
            <a:r>
              <a:rPr lang="ru-RU" sz="1800" b="0" dirty="0">
                <a:effectLst/>
              </a:rPr>
              <a:t>Выбираем архитектуру основанную на сервисах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более распределенная чем монолит, для удобства масштабирования и разработ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менее распределенная чем </a:t>
            </a:r>
            <a:r>
              <a:rPr lang="ru-RU" sz="1800" b="0" dirty="0" err="1">
                <a:effectLst/>
              </a:rPr>
              <a:t>микросервисы</a:t>
            </a:r>
            <a:r>
              <a:rPr lang="ru-RU" sz="1800" b="0" dirty="0">
                <a:effectLst/>
              </a:rPr>
              <a:t>, поскольку пока сложно выделить ограниченные контексты, мало информации о планах</a:t>
            </a:r>
          </a:p>
        </p:txBody>
      </p:sp>
      <p:pic>
        <p:nvPicPr>
          <p:cNvPr id="16" name="Рисунок 15" descr="Идея">
            <a:extLst>
              <a:ext uri="{FF2B5EF4-FFF2-40B4-BE49-F238E27FC236}">
                <a16:creationId xmlns:a16="http://schemas.microsoft.com/office/drawing/2014/main" id="{B7AB9499-FEA3-29A6-1F1C-C3251DCFC91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1317" y="207031"/>
            <a:ext cx="1739604" cy="1122325"/>
          </a:xfrm>
          <a:prstGeom prst="rect">
            <a:avLst/>
          </a:prstGeom>
        </p:spPr>
      </p:pic>
      <p:pic>
        <p:nvPicPr>
          <p:cNvPr id="17" name="Рисунок 16" descr="Презентация, выступление ">
            <a:extLst>
              <a:ext uri="{FF2B5EF4-FFF2-40B4-BE49-F238E27FC236}">
                <a16:creationId xmlns:a16="http://schemas.microsoft.com/office/drawing/2014/main" id="{260CD42C-6793-BFF7-4CBC-3E4DBCDF33D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7622" y="5371812"/>
            <a:ext cx="1683488" cy="1296286"/>
          </a:xfrm>
          <a:prstGeom prst="rect">
            <a:avLst/>
          </a:prstGeom>
        </p:spPr>
      </p:pic>
      <p:sp>
        <p:nvSpPr>
          <p:cNvPr id="18" name="Стрелка: шеврон 24" descr="красная стрелка">
            <a:extLst>
              <a:ext uri="{FF2B5EF4-FFF2-40B4-BE49-F238E27FC236}">
                <a16:creationId xmlns:a16="http://schemas.microsoft.com/office/drawing/2014/main" id="{9C0AFC2D-36DA-DCB7-E8F6-C0ECF40F24E6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8910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43D83236-EAD9-40E4-4E0A-BD3375FBD3D5}"/>
              </a:ext>
            </a:extLst>
          </p:cNvPr>
          <p:cNvSpPr txBox="1">
            <a:spLocks/>
          </p:cNvSpPr>
          <p:nvPr/>
        </p:nvSpPr>
        <p:spPr>
          <a:xfrm>
            <a:off x="578070" y="1902583"/>
            <a:ext cx="3909848" cy="33003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Представляет собой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набор серви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сервисы ориентированы на предметные области, могут сочетать несколько предметных областей в одн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каждый сервис это элемент развертывания</a:t>
            </a: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каждый сервис имеет независимую Б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 err="1">
                <a:effectLst/>
              </a:rPr>
              <a:t>оркестрацией</a:t>
            </a:r>
            <a:r>
              <a:rPr lang="ru-RU" sz="1600" b="0" dirty="0">
                <a:effectLst/>
              </a:rPr>
              <a:t> </a:t>
            </a:r>
            <a:r>
              <a:rPr lang="en-US" sz="1600" b="0" dirty="0">
                <a:effectLst/>
              </a:rPr>
              <a:t>API-</a:t>
            </a:r>
            <a:r>
              <a:rPr lang="ru-RU" sz="1600" b="0" dirty="0">
                <a:effectLst/>
              </a:rPr>
              <a:t>вызовов управляет </a:t>
            </a:r>
            <a:r>
              <a:rPr lang="en-US" sz="1600" b="0" dirty="0">
                <a:effectLst/>
              </a:rPr>
              <a:t>API Gateway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DB6ED57-48FB-FDA1-C413-7E5527DF38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9048" y="1208900"/>
            <a:ext cx="5444359" cy="5051036"/>
          </a:xfrm>
          <a:prstGeom prst="rect">
            <a:avLst/>
          </a:prstGeom>
        </p:spPr>
      </p:pic>
      <p:pic>
        <p:nvPicPr>
          <p:cNvPr id="4" name="Рисунок 3" descr="Процесс, инструменты, функция ">
            <a:extLst>
              <a:ext uri="{FF2B5EF4-FFF2-40B4-BE49-F238E27FC236}">
                <a16:creationId xmlns:a16="http://schemas.microsoft.com/office/drawing/2014/main" id="{0C12D48F-4B3A-862A-EE2B-1E54081302E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9142" y="176143"/>
            <a:ext cx="1279451" cy="1279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235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0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Компоненты системы: веб-приложение</a:t>
            </a:r>
          </a:p>
        </p:txBody>
      </p:sp>
    </p:spTree>
    <p:extLst>
      <p:ext uri="{BB962C8B-B14F-4D97-AF65-F5344CB8AC3E}">
        <p14:creationId xmlns:p14="http://schemas.microsoft.com/office/powerpoint/2010/main" val="16681264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3E3C2900-C7B4-92C4-7C03-8C9071D580B9}"/>
              </a:ext>
            </a:extLst>
          </p:cNvPr>
          <p:cNvSpPr txBox="1">
            <a:spLocks/>
          </p:cNvSpPr>
          <p:nvPr/>
        </p:nvSpPr>
        <p:spPr>
          <a:xfrm>
            <a:off x="2840422" y="807916"/>
            <a:ext cx="5662450" cy="5520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Выделили 2 группы интересантов веб-приложени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бучающихс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Персонал</a:t>
            </a:r>
          </a:p>
          <a:p>
            <a:br>
              <a:rPr lang="ru-RU" sz="1800" b="0" dirty="0">
                <a:effectLst/>
              </a:rPr>
            </a:br>
            <a:r>
              <a:rPr lang="ru-RU" sz="1800" b="0" dirty="0">
                <a:effectLst/>
              </a:rPr>
              <a:t>Из-за того, что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| Обучающихся | &gt;&gt; | Персонал |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требования по </a:t>
            </a:r>
            <a:r>
              <a:rPr lang="en-US" sz="1800" b="0" dirty="0">
                <a:effectLst/>
              </a:rPr>
              <a:t>usability </a:t>
            </a:r>
            <a:r>
              <a:rPr lang="ru-RU" sz="1800" b="0" dirty="0">
                <a:effectLst/>
              </a:rPr>
              <a:t>для обучающихся выш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цикл изменений </a:t>
            </a:r>
            <a:r>
              <a:rPr lang="en-US" sz="1800" b="0" dirty="0">
                <a:effectLst/>
              </a:rPr>
              <a:t>UI </a:t>
            </a:r>
            <a:r>
              <a:rPr lang="ru-RU" sz="1800" b="0" dirty="0">
                <a:effectLst/>
              </a:rPr>
              <a:t>для обучающихся выш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требования по доступности для обучающихся выше</a:t>
            </a:r>
          </a:p>
          <a:p>
            <a:br>
              <a:rPr lang="ru-RU" sz="1800" b="0" dirty="0">
                <a:effectLst/>
              </a:rPr>
            </a:br>
            <a:r>
              <a:rPr lang="ru-RU" sz="1800" b="0" dirty="0">
                <a:solidFill>
                  <a:schemeClr val="accent1"/>
                </a:solidFill>
                <a:effectLst/>
              </a:rPr>
              <a:t>Вывод</a:t>
            </a:r>
            <a:r>
              <a:rPr lang="ru-RU" sz="1800" b="0" dirty="0">
                <a:effectLst/>
              </a:rPr>
              <a:t>: разделить </a:t>
            </a:r>
            <a:r>
              <a:rPr lang="en-US" sz="1800" b="0" dirty="0">
                <a:effectLst/>
              </a:rPr>
              <a:t>UI </a:t>
            </a:r>
            <a:r>
              <a:rPr lang="ru-RU" sz="1800" b="0" dirty="0">
                <a:effectLst/>
              </a:rPr>
              <a:t>на веб-приложение Образовательной Платформы и веб-приложение Панели Управления. </a:t>
            </a:r>
          </a:p>
          <a:p>
            <a:r>
              <a:rPr lang="ru-RU" sz="1800" b="0" dirty="0">
                <a:effectLst/>
              </a:rPr>
              <a:t>Оба приложения используют </a:t>
            </a:r>
            <a:r>
              <a:rPr lang="en-US" sz="1800" b="0" dirty="0">
                <a:effectLst/>
              </a:rPr>
              <a:t>API Gateway </a:t>
            </a:r>
            <a:r>
              <a:rPr lang="ru-RU" sz="1800" b="0" dirty="0">
                <a:effectLst/>
              </a:rPr>
              <a:t>для работы с </a:t>
            </a:r>
            <a:r>
              <a:rPr lang="ru-RU" sz="1800" b="0" dirty="0" err="1">
                <a:effectLst/>
              </a:rPr>
              <a:t>бэкэндом</a:t>
            </a:r>
            <a:r>
              <a:rPr lang="ru-RU" sz="1800" b="0" dirty="0">
                <a:effectLst/>
              </a:rPr>
              <a:t>.</a:t>
            </a:r>
          </a:p>
          <a:p>
            <a:endParaRPr lang="ru-RU" sz="1800" b="0" dirty="0">
              <a:effectLst/>
            </a:endParaRP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8B66ABB1-B866-375D-9AAB-EEB8B1B118C9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FA13166F-13DE-C229-B2BC-9BA526099D33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D18018DE-1388-97FA-365C-387D9E27989C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2FDD90B0-5F17-A98B-EE7D-660A75C11CDE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AF050929-F58C-D521-76EC-44C1A2EAA12F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8E6BF9F8-46BC-7059-081A-9127493282AC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2CBF89F6-359C-512F-7CCB-491F93D36ADF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5E9B12F2-5196-09A3-9DB6-AEC469F0981E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BE286786-624F-EB43-25F2-43886E290787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D3B51AFF-7D62-6028-0DFB-5DB175A3DA3A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8E1D1728-C68F-72F7-CEA1-A9E5E2B016E5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006986E6-5A72-420B-8714-DF569E5F4481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397DB564-15D7-3E38-9242-8FF0AEE560AE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CA2FB381-2481-2A89-F2EA-D7354B64CE10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B0956DEA-E671-1CAA-9540-8AD7E77C5EDF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6A00C6A4-D091-8D6A-4C35-CB3AAAD2BE69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2A485627-1102-D365-4A77-BB91A10EDD1D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AE99D53C-0164-C560-AD97-AD1AFDE28CFE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E2739C1B-E250-09AB-858F-B6D11E83301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B1F158B9-3A93-B78E-3AA4-387C8F3705F2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5F6DF926-969F-8616-FABE-312278ECE78B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B06942DB-B855-3F98-D4D2-4F8AD69684AE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5889B55E-371E-B155-C6BC-C518D95354FD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DD0FA8D-A5FD-AB12-90E3-DB501AEAD034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4527E3CC-04A1-A66A-B354-EDE83C256C3F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5372CE0C-8551-5CCD-1857-9D2EA678B932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C61F5C4D-0C0D-89BB-45F8-B3A9F162E5C5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A009CA71-59AF-50E2-2461-507ED5A0D2CE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E25E6D65-BBA3-419F-D3A3-2940671E95E6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B375EA8C-F665-8354-281E-1F0E97E9B6B0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37878AC0-9442-2556-97F7-5564EA02C9F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4AACB41-8802-6792-235C-B186789E0B2C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45ECBCA7-B554-9433-BBDB-93A0BCB5C106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2CB5A162-399B-0366-F2FF-791937D06173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A5C10642-EB57-87CF-113A-7CEA4C9D441F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3704DA9E-F797-E55F-33D3-7F4DF4118951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63005EC8-D1E2-437F-554A-AB45F82DD56D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BF6BE6B-52EF-6975-34A6-224AC550EBB0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AE35F39C-EACC-B74E-128A-AA29C2012CAF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754C66EA-BB88-7741-9A26-A6CC9704A410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7369D939-3899-8EA4-6263-B11D6AC22444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76396065-9898-5F8C-E14E-04A55C39088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45" name="Стрелка: шеврон 24" descr="красная стрелка">
            <a:extLst>
              <a:ext uri="{FF2B5EF4-FFF2-40B4-BE49-F238E27FC236}">
                <a16:creationId xmlns:a16="http://schemas.microsoft.com/office/drawing/2014/main" id="{B003AD6C-195B-DBF0-2122-BA6512B79B1B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9264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14A8806-52AA-6211-4EBB-91065F9AF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68166"/>
            <a:ext cx="7772400" cy="631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833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</a:t>
            </a:r>
            <a:r>
              <a:rPr lang="en-US" dirty="0"/>
              <a:t>1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3800" dirty="0"/>
              <a:t>Компоненты системы: Управление курсами и проверкой знаний</a:t>
            </a:r>
          </a:p>
        </p:txBody>
      </p:sp>
    </p:spTree>
    <p:extLst>
      <p:ext uri="{BB962C8B-B14F-4D97-AF65-F5344CB8AC3E}">
        <p14:creationId xmlns:p14="http://schemas.microsoft.com/office/powerpoint/2010/main" val="17435361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3">
            <a:extLst>
              <a:ext uri="{FF2B5EF4-FFF2-40B4-BE49-F238E27FC236}">
                <a16:creationId xmlns:a16="http://schemas.microsoft.com/office/drawing/2014/main" id="{85F3221E-8199-A9F4-3990-85D28C9DE2DC}"/>
              </a:ext>
            </a:extLst>
          </p:cNvPr>
          <p:cNvSpPr txBox="1">
            <a:spLocks/>
          </p:cNvSpPr>
          <p:nvPr/>
        </p:nvSpPr>
        <p:spPr>
          <a:xfrm>
            <a:off x="3128140" y="468219"/>
            <a:ext cx="5662450" cy="5898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Мы выделили сервис Управления курсами (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Course Manager</a:t>
            </a:r>
            <a:r>
              <a:rPr lang="en-US" sz="1800" b="0" dirty="0">
                <a:effectLst/>
              </a:rPr>
              <a:t>) </a:t>
            </a:r>
            <a:r>
              <a:rPr lang="ru-RU" sz="1800" b="0" dirty="0">
                <a:effectLst/>
              </a:rPr>
              <a:t>функционал платформы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рганизацию уроков/курсов и онлайн активностей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Назначение обучающихся на урок/курс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 err="1">
                <a:effectLst/>
              </a:rPr>
              <a:t>Треккинг</a:t>
            </a:r>
            <a:r>
              <a:rPr lang="ru-RU" sz="1800" b="0" dirty="0">
                <a:effectLst/>
              </a:rPr>
              <a:t> прохождения урока/курс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Интеграцию с </a:t>
            </a:r>
            <a:r>
              <a:rPr lang="en-US" sz="1800" b="0" dirty="0">
                <a:effectLst/>
              </a:rPr>
              <a:t>webinar</a:t>
            </a:r>
          </a:p>
          <a:p>
            <a:endParaRPr lang="ru-RU" sz="1800" dirty="0"/>
          </a:p>
          <a:p>
            <a:r>
              <a:rPr lang="ru-RU" sz="1800" b="0" dirty="0">
                <a:effectLst/>
              </a:rPr>
              <a:t>В сервис Управления проверкой знаний (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Exam Manage</a:t>
            </a:r>
            <a:r>
              <a:rPr lang="en-US" sz="1800" b="0" dirty="0">
                <a:effectLst/>
              </a:rPr>
              <a:t>r) </a:t>
            </a:r>
            <a:r>
              <a:rPr lang="ru-RU" sz="1800" b="0" dirty="0">
                <a:effectLst/>
              </a:rPr>
              <a:t>мы выделили функционал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Автоматизированную/ручную проверку домашних заданий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Управление тестам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ценочную систему</a:t>
            </a:r>
          </a:p>
          <a:p>
            <a:endParaRPr lang="ru-RU" sz="1800" b="0" dirty="0">
              <a:effectLst/>
            </a:endParaRPr>
          </a:p>
          <a:p>
            <a:r>
              <a:rPr lang="ru-RU" sz="1800" b="0" dirty="0">
                <a:effectLst/>
              </a:rPr>
              <a:t>Эти доменных области будут наиболее активно и независимо развиваться, поэтому выделение в отдельные сервисы оправдано.</a:t>
            </a:r>
          </a:p>
        </p:txBody>
      </p:sp>
      <p:grpSp>
        <p:nvGrpSpPr>
          <p:cNvPr id="14" name="Группа 13" descr="Результат, инструменты ">
            <a:extLst>
              <a:ext uri="{FF2B5EF4-FFF2-40B4-BE49-F238E27FC236}">
                <a16:creationId xmlns:a16="http://schemas.microsoft.com/office/drawing/2014/main" id="{33C5C23F-C809-E092-F54D-77D1E6636B5A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15" name="Полилиния: фигура 8">
              <a:extLst>
                <a:ext uri="{FF2B5EF4-FFF2-40B4-BE49-F238E27FC236}">
                  <a16:creationId xmlns:a16="http://schemas.microsoft.com/office/drawing/2014/main" id="{6FFEDA1C-F58B-6188-E4E6-D4A4288F668E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9">
              <a:extLst>
                <a:ext uri="{FF2B5EF4-FFF2-40B4-BE49-F238E27FC236}">
                  <a16:creationId xmlns:a16="http://schemas.microsoft.com/office/drawing/2014/main" id="{585D9EA3-C790-E76D-03B3-4BEB0470754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0">
              <a:extLst>
                <a:ext uri="{FF2B5EF4-FFF2-40B4-BE49-F238E27FC236}">
                  <a16:creationId xmlns:a16="http://schemas.microsoft.com/office/drawing/2014/main" id="{F92DB0D4-F5C4-C8F4-8AEF-667C9FD3FD3F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1">
              <a:extLst>
                <a:ext uri="{FF2B5EF4-FFF2-40B4-BE49-F238E27FC236}">
                  <a16:creationId xmlns:a16="http://schemas.microsoft.com/office/drawing/2014/main" id="{22D255CD-0146-0D4C-6F74-ACE180DDE96F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2">
              <a:extLst>
                <a:ext uri="{FF2B5EF4-FFF2-40B4-BE49-F238E27FC236}">
                  <a16:creationId xmlns:a16="http://schemas.microsoft.com/office/drawing/2014/main" id="{AE2C2588-E096-4C02-CD90-E1BC33F9F5C9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3">
              <a:extLst>
                <a:ext uri="{FF2B5EF4-FFF2-40B4-BE49-F238E27FC236}">
                  <a16:creationId xmlns:a16="http://schemas.microsoft.com/office/drawing/2014/main" id="{0A5309E0-472A-30BB-FCB9-4B9E35B6EF03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14">
              <a:extLst>
                <a:ext uri="{FF2B5EF4-FFF2-40B4-BE49-F238E27FC236}">
                  <a16:creationId xmlns:a16="http://schemas.microsoft.com/office/drawing/2014/main" id="{2695A90E-AC33-E683-8816-085A1231D7EB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15">
              <a:extLst>
                <a:ext uri="{FF2B5EF4-FFF2-40B4-BE49-F238E27FC236}">
                  <a16:creationId xmlns:a16="http://schemas.microsoft.com/office/drawing/2014/main" id="{F7A0B404-8E9D-76D9-2167-59579034BC5B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16">
              <a:extLst>
                <a:ext uri="{FF2B5EF4-FFF2-40B4-BE49-F238E27FC236}">
                  <a16:creationId xmlns:a16="http://schemas.microsoft.com/office/drawing/2014/main" id="{2B74B99D-B970-2E3A-4298-22E2C2669E0C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17">
              <a:extLst>
                <a:ext uri="{FF2B5EF4-FFF2-40B4-BE49-F238E27FC236}">
                  <a16:creationId xmlns:a16="http://schemas.microsoft.com/office/drawing/2014/main" id="{458FD3D4-7296-7430-5633-EC4FBB9E3106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18">
              <a:extLst>
                <a:ext uri="{FF2B5EF4-FFF2-40B4-BE49-F238E27FC236}">
                  <a16:creationId xmlns:a16="http://schemas.microsoft.com/office/drawing/2014/main" id="{ADFB512F-463B-04A6-9E5F-3407FFB0EE23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19">
              <a:extLst>
                <a:ext uri="{FF2B5EF4-FFF2-40B4-BE49-F238E27FC236}">
                  <a16:creationId xmlns:a16="http://schemas.microsoft.com/office/drawing/2014/main" id="{E3D21332-40F8-977C-5669-E872592A3853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0">
              <a:extLst>
                <a:ext uri="{FF2B5EF4-FFF2-40B4-BE49-F238E27FC236}">
                  <a16:creationId xmlns:a16="http://schemas.microsoft.com/office/drawing/2014/main" id="{124F51E6-513C-09C9-F0D6-D9A2D3ABCC36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1">
              <a:extLst>
                <a:ext uri="{FF2B5EF4-FFF2-40B4-BE49-F238E27FC236}">
                  <a16:creationId xmlns:a16="http://schemas.microsoft.com/office/drawing/2014/main" id="{E919FC90-F1C4-28C2-D49E-472EE31BB5B9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2">
              <a:extLst>
                <a:ext uri="{FF2B5EF4-FFF2-40B4-BE49-F238E27FC236}">
                  <a16:creationId xmlns:a16="http://schemas.microsoft.com/office/drawing/2014/main" id="{D3F6D2C7-CE74-7282-0386-95F65CA4EF2A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3">
              <a:extLst>
                <a:ext uri="{FF2B5EF4-FFF2-40B4-BE49-F238E27FC236}">
                  <a16:creationId xmlns:a16="http://schemas.microsoft.com/office/drawing/2014/main" id="{A06BBCA4-BFBA-D05B-962A-99476718DD17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24">
              <a:extLst>
                <a:ext uri="{FF2B5EF4-FFF2-40B4-BE49-F238E27FC236}">
                  <a16:creationId xmlns:a16="http://schemas.microsoft.com/office/drawing/2014/main" id="{C63BBCA0-7280-0E86-6F74-32796C00B9D2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25">
              <a:extLst>
                <a:ext uri="{FF2B5EF4-FFF2-40B4-BE49-F238E27FC236}">
                  <a16:creationId xmlns:a16="http://schemas.microsoft.com/office/drawing/2014/main" id="{01697281-38C5-B554-0B8C-3152DFCD0A4B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26">
              <a:extLst>
                <a:ext uri="{FF2B5EF4-FFF2-40B4-BE49-F238E27FC236}">
                  <a16:creationId xmlns:a16="http://schemas.microsoft.com/office/drawing/2014/main" id="{B2CC5E95-F7DD-23E6-D6FB-2944512ACD76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27">
              <a:extLst>
                <a:ext uri="{FF2B5EF4-FFF2-40B4-BE49-F238E27FC236}">
                  <a16:creationId xmlns:a16="http://schemas.microsoft.com/office/drawing/2014/main" id="{F4E98435-8CE3-14DE-B1A4-8FE2E690225D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28">
              <a:extLst>
                <a:ext uri="{FF2B5EF4-FFF2-40B4-BE49-F238E27FC236}">
                  <a16:creationId xmlns:a16="http://schemas.microsoft.com/office/drawing/2014/main" id="{B9EE9E0C-786B-7B3C-1ADC-24F2DBA0EAA1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29">
              <a:extLst>
                <a:ext uri="{FF2B5EF4-FFF2-40B4-BE49-F238E27FC236}">
                  <a16:creationId xmlns:a16="http://schemas.microsoft.com/office/drawing/2014/main" id="{C1E27489-3A76-A82A-2169-265B0CBAE118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0">
              <a:extLst>
                <a:ext uri="{FF2B5EF4-FFF2-40B4-BE49-F238E27FC236}">
                  <a16:creationId xmlns:a16="http://schemas.microsoft.com/office/drawing/2014/main" id="{DF5336A9-6C7E-676F-C41C-DA9B607808CF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1">
              <a:extLst>
                <a:ext uri="{FF2B5EF4-FFF2-40B4-BE49-F238E27FC236}">
                  <a16:creationId xmlns:a16="http://schemas.microsoft.com/office/drawing/2014/main" id="{3C900137-FECE-AAAF-E5C9-AD98DAC8A532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32">
              <a:extLst>
                <a:ext uri="{FF2B5EF4-FFF2-40B4-BE49-F238E27FC236}">
                  <a16:creationId xmlns:a16="http://schemas.microsoft.com/office/drawing/2014/main" id="{6A7787AE-BF4B-D5F9-66ED-4B5834DBC9F9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33">
              <a:extLst>
                <a:ext uri="{FF2B5EF4-FFF2-40B4-BE49-F238E27FC236}">
                  <a16:creationId xmlns:a16="http://schemas.microsoft.com/office/drawing/2014/main" id="{3E1CD7C3-C366-1CAA-4954-58DAE971881B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34">
              <a:extLst>
                <a:ext uri="{FF2B5EF4-FFF2-40B4-BE49-F238E27FC236}">
                  <a16:creationId xmlns:a16="http://schemas.microsoft.com/office/drawing/2014/main" id="{44E14B36-B468-430A-F4B6-76119EFBAC52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35">
              <a:extLst>
                <a:ext uri="{FF2B5EF4-FFF2-40B4-BE49-F238E27FC236}">
                  <a16:creationId xmlns:a16="http://schemas.microsoft.com/office/drawing/2014/main" id="{F7372C4D-C36F-D226-7797-03115641C580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36">
              <a:extLst>
                <a:ext uri="{FF2B5EF4-FFF2-40B4-BE49-F238E27FC236}">
                  <a16:creationId xmlns:a16="http://schemas.microsoft.com/office/drawing/2014/main" id="{3FF6E8C1-1ECB-4606-C03C-8AB422BBE750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37">
              <a:extLst>
                <a:ext uri="{FF2B5EF4-FFF2-40B4-BE49-F238E27FC236}">
                  <a16:creationId xmlns:a16="http://schemas.microsoft.com/office/drawing/2014/main" id="{AE5A555F-4BE3-B970-2656-E98948CAACB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38">
              <a:extLst>
                <a:ext uri="{FF2B5EF4-FFF2-40B4-BE49-F238E27FC236}">
                  <a16:creationId xmlns:a16="http://schemas.microsoft.com/office/drawing/2014/main" id="{6B7FA334-7681-9FDA-02AE-F7941CCED8E0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39">
              <a:extLst>
                <a:ext uri="{FF2B5EF4-FFF2-40B4-BE49-F238E27FC236}">
                  <a16:creationId xmlns:a16="http://schemas.microsoft.com/office/drawing/2014/main" id="{DA942F01-40AA-DEDF-1C2A-E4DCD9B02D0D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0">
              <a:extLst>
                <a:ext uri="{FF2B5EF4-FFF2-40B4-BE49-F238E27FC236}">
                  <a16:creationId xmlns:a16="http://schemas.microsoft.com/office/drawing/2014/main" id="{549091A3-BEE1-F44D-6637-A0CD2275F80B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1">
              <a:extLst>
                <a:ext uri="{FF2B5EF4-FFF2-40B4-BE49-F238E27FC236}">
                  <a16:creationId xmlns:a16="http://schemas.microsoft.com/office/drawing/2014/main" id="{688AC387-31A2-360B-8648-570FA4A66900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2">
              <a:extLst>
                <a:ext uri="{FF2B5EF4-FFF2-40B4-BE49-F238E27FC236}">
                  <a16:creationId xmlns:a16="http://schemas.microsoft.com/office/drawing/2014/main" id="{EDEF7C2C-440F-D6CC-6818-06D421BFF0C3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3">
              <a:extLst>
                <a:ext uri="{FF2B5EF4-FFF2-40B4-BE49-F238E27FC236}">
                  <a16:creationId xmlns:a16="http://schemas.microsoft.com/office/drawing/2014/main" id="{9C3D8B56-DDA0-8B73-4909-4831A79CB8AD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44">
              <a:extLst>
                <a:ext uri="{FF2B5EF4-FFF2-40B4-BE49-F238E27FC236}">
                  <a16:creationId xmlns:a16="http://schemas.microsoft.com/office/drawing/2014/main" id="{81A915DA-274A-F0DF-77C3-C55C7E3E16E3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45">
              <a:extLst>
                <a:ext uri="{FF2B5EF4-FFF2-40B4-BE49-F238E27FC236}">
                  <a16:creationId xmlns:a16="http://schemas.microsoft.com/office/drawing/2014/main" id="{2E5D9DD5-798C-FEB5-2D31-6BA78FC4274F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46">
              <a:extLst>
                <a:ext uri="{FF2B5EF4-FFF2-40B4-BE49-F238E27FC236}">
                  <a16:creationId xmlns:a16="http://schemas.microsoft.com/office/drawing/2014/main" id="{C89226C9-E6F2-EFE7-538B-6CD1B716F894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47">
              <a:extLst>
                <a:ext uri="{FF2B5EF4-FFF2-40B4-BE49-F238E27FC236}">
                  <a16:creationId xmlns:a16="http://schemas.microsoft.com/office/drawing/2014/main" id="{DDF72FAB-EE31-5633-AA33-C1B1C75DC2DF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5" name="Рисунок 54" descr="Результат">
            <a:extLst>
              <a:ext uri="{FF2B5EF4-FFF2-40B4-BE49-F238E27FC236}">
                <a16:creationId xmlns:a16="http://schemas.microsoft.com/office/drawing/2014/main" id="{CB1CCB76-E00A-8CFB-CFB9-4976B6D7C01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56" name="Стрелка: шеврон 24" descr="красная стрелка">
            <a:extLst>
              <a:ext uri="{FF2B5EF4-FFF2-40B4-BE49-F238E27FC236}">
                <a16:creationId xmlns:a16="http://schemas.microsoft.com/office/drawing/2014/main" id="{A65B1ECB-02FB-D17E-A4ED-D25FB1774BAD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195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F098EC0-3FFC-6F8C-A058-2B5D65CF0D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3977" y="0"/>
            <a:ext cx="67440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131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</a:t>
            </a:r>
            <a:r>
              <a:rPr lang="en-US" dirty="0"/>
              <a:t>2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Компоненты системы: </a:t>
            </a:r>
            <a:r>
              <a:rPr lang="en-US" sz="4500" dirty="0"/>
              <a:t>API Gateway</a:t>
            </a:r>
            <a:endParaRPr lang="ru-RU" sz="4500" dirty="0"/>
          </a:p>
        </p:txBody>
      </p:sp>
    </p:spTree>
    <p:extLst>
      <p:ext uri="{BB962C8B-B14F-4D97-AF65-F5344CB8AC3E}">
        <p14:creationId xmlns:p14="http://schemas.microsoft.com/office/powerpoint/2010/main" val="27466690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1794839"/>
            <a:ext cx="6793626" cy="28848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/>
              <a:t>В</a:t>
            </a:r>
            <a:r>
              <a:rPr lang="ru-RU" sz="1800" b="0" dirty="0">
                <a:effectLst/>
              </a:rPr>
              <a:t>ыделили </a:t>
            </a:r>
            <a:r>
              <a:rPr lang="en-US" sz="1800" b="0" dirty="0">
                <a:effectLst/>
              </a:rPr>
              <a:t>API Gateway </a:t>
            </a:r>
            <a:r>
              <a:rPr lang="ru-RU" sz="1800" b="0" dirty="0">
                <a:effectLst/>
              </a:rPr>
              <a:t>для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Маршрутизации запросов к </a:t>
            </a:r>
            <a:r>
              <a:rPr lang="en-US" sz="1800" b="0" dirty="0">
                <a:effectLst/>
              </a:rPr>
              <a:t>API</a:t>
            </a:r>
            <a:endParaRPr lang="ru-RU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Аутентификации пользователей (через МТС </a:t>
            </a:r>
            <a:r>
              <a:rPr lang="en-US" sz="1800" b="0" dirty="0">
                <a:effectLst/>
              </a:rPr>
              <a:t>I</a:t>
            </a:r>
            <a:r>
              <a:rPr lang="en-US" sz="1800" dirty="0"/>
              <a:t>D, OIDC</a:t>
            </a:r>
            <a:r>
              <a:rPr lang="en-US" sz="1800" b="0" dirty="0">
                <a:effectLst/>
              </a:rPr>
              <a:t>)</a:t>
            </a:r>
            <a:endParaRPr lang="ru-RU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Хранения информации о пользователях и их глобальных ролях (Студент, Администратор, </a:t>
            </a:r>
            <a:r>
              <a:rPr lang="ru-RU" sz="1800" b="0" dirty="0" err="1">
                <a:effectLst/>
              </a:rPr>
              <a:t>СотрудникПоддержки</a:t>
            </a:r>
            <a:r>
              <a:rPr lang="ru-RU" sz="1800" b="0" dirty="0">
                <a:effectLst/>
              </a:rPr>
              <a:t>)</a:t>
            </a:r>
          </a:p>
          <a:p>
            <a:br>
              <a:rPr lang="ru-RU" sz="1800" b="0" dirty="0">
                <a:effectLst/>
              </a:rPr>
            </a:br>
            <a:r>
              <a:rPr lang="ru-RU" sz="1800" b="0" dirty="0">
                <a:effectLst/>
              </a:rPr>
              <a:t>Пробросили данные о ролях в </a:t>
            </a:r>
            <a:r>
              <a:rPr lang="en-US" sz="1800" b="0" dirty="0">
                <a:effectLst/>
              </a:rPr>
              <a:t>htt</a:t>
            </a:r>
            <a:r>
              <a:rPr lang="en-US" sz="1800" dirty="0"/>
              <a:t>p-</a:t>
            </a:r>
            <a:r>
              <a:rPr lang="ru-RU" sz="1800" b="0" dirty="0">
                <a:effectLst/>
              </a:rPr>
              <a:t>заголовок вызова </a:t>
            </a:r>
            <a:r>
              <a:rPr lang="en-US" sz="1800" b="0" dirty="0">
                <a:effectLst/>
              </a:rPr>
              <a:t>upstream-</a:t>
            </a:r>
            <a:r>
              <a:rPr lang="ru-RU" sz="1800" b="0" dirty="0">
                <a:effectLst/>
              </a:rPr>
              <a:t>сервиса и делегировали авторизацию ему.</a:t>
            </a:r>
          </a:p>
          <a:p>
            <a:endParaRPr lang="ru-RU" sz="1800" b="0" dirty="0">
              <a:effectLst/>
            </a:endParaRP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5C0E0629-DC0A-CA3C-0A73-492DD69BE37D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0F4B0464-9B92-AF60-B07F-0B623D22F936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138371A9-05A7-1598-67F4-2074F29871C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F336C9C2-F48E-82C1-ADE3-450F1494E8EA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1E9A5A85-9C45-F642-C556-6AF87A9FDF29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32181513-224F-DFFF-2BB1-EFBC7579AD03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D0B0DB99-E59D-457E-A634-A577833ED8A6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08BBC8D4-8C68-FB38-20FA-1E7C00B60688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675ABA0B-963B-5687-BE97-BCB54A4B1595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388A423C-B8F7-D0CC-6CFB-15DEAC28F597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3F40B68F-D77A-E3AB-4360-517AB8E8C28C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44F194AE-ED0D-6C77-17C9-F1BE7548F478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5BACB0C1-77FA-49A9-1623-887FFA6B2561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42ACF3B5-980D-E174-C2CB-5C9EB6D9EB45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085AAA3F-85C3-1B0B-0CB7-E9BAF9020806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FD03E6F3-5FBA-12C8-1401-C00C428CB7E5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45FBAB9D-76DC-6376-FCE6-01833428A7F0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2FC2970F-F5A8-E11E-8F25-3FF2F817C7F7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F9ECFFD9-8237-8855-E45A-FF38997007F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9FBA91EB-4E97-5149-A1EE-FA7431C53CB0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9D623A72-E00A-B29F-E89F-69D677AE9162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83AA0E23-50EB-7927-910B-A68F98E6CA4F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2672167B-7E1A-43E8-6582-48D73670A4A0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4CFF5C2-BFEE-D9A1-30C7-08D67CA035D9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D13F6CBF-A075-0168-EFE8-6988543F4C49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1CD29A83-4B5C-DCBD-3E86-7B6F9A1BCB6E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F414FB9A-1A6B-B158-5607-5FCB79BF35BC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C4E62D4F-2C3B-E173-D1FA-40768A4C2E31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854B4E2E-3411-8E89-3647-9C5A8B410254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787572EA-E379-C041-C42E-2DC41292FA36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780E720B-968E-FB61-C158-971A39752BC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2B0661F-8905-B175-5046-BAC13C2B55A7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E321374B-3BB9-B109-069C-01BB40524A55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D7813C14-D083-2E31-9065-C1027DC57201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7EC0844D-1FF7-9B1D-8643-64CFA632E8C6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9F02275D-DC77-856B-1671-2852DC36B3C7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E8D9D435-27DD-3E20-8996-500E4ED0B9EB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4DBF5F2-F736-1B27-5954-15BD71446955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9AC14752-E731-9A73-BAD2-B37D68D117A1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6045AD7A-CA78-1A08-EA85-ECBCBE2C1D9D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D2744247-B9B9-2D2F-1C9B-CD2AEE66DB90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B8C2981C-FC07-10E3-1FE9-4F6F670893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45" name="Стрелка: шеврон 24" descr="красная стрелка">
            <a:extLst>
              <a:ext uri="{FF2B5EF4-FFF2-40B4-BE49-F238E27FC236}">
                <a16:creationId xmlns:a16="http://schemas.microsoft.com/office/drawing/2014/main" id="{577031FC-A6FB-7A9C-31DA-881D51C501F6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834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бъект 14"/>
          <p:cNvSpPr>
            <a:spLocks noGrp="1"/>
          </p:cNvSpPr>
          <p:nvPr>
            <p:ph idx="1"/>
          </p:nvPr>
        </p:nvSpPr>
        <p:spPr>
          <a:xfrm>
            <a:off x="6113451" y="992187"/>
            <a:ext cx="5259388" cy="1863247"/>
          </a:xfrm>
        </p:spPr>
        <p:txBody>
          <a:bodyPr/>
          <a:lstStyle/>
          <a:p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Имеет успешный кейс с запуском онлайн-активности (прослушивания в ГИТИС)</a:t>
            </a:r>
          </a:p>
          <a:p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Реализована вендором:</a:t>
            </a:r>
            <a:endParaRPr lang="en-US" sz="14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r>
              <a:rPr lang="ru-RU" sz="1200" b="0" i="0" u="none" strike="noStrike" dirty="0">
                <a:solidFill>
                  <a:srgbClr val="000000"/>
                </a:solidFill>
                <a:effectLst/>
              </a:rPr>
              <a:t>Не хватает функционала</a:t>
            </a:r>
            <a:endParaRPr lang="en-US" sz="12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r>
              <a:rPr lang="ru-RU" sz="1200" b="0" i="0" u="none" strike="noStrike" dirty="0">
                <a:solidFill>
                  <a:srgbClr val="000000"/>
                </a:solidFill>
                <a:effectLst/>
              </a:rPr>
              <a:t>Проблемы с производительностью</a:t>
            </a:r>
            <a:endParaRPr lang="en-US" sz="12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r>
              <a:rPr lang="ru-RU" sz="1200" b="0" i="0" u="none" strike="noStrike" dirty="0">
                <a:solidFill>
                  <a:srgbClr val="000000"/>
                </a:solidFill>
                <a:effectLst/>
              </a:rPr>
              <a:t>Недостаточная скорость разработки</a:t>
            </a:r>
            <a:endParaRPr lang="en-US" sz="1200" b="0" i="0" u="none" strike="noStrike" dirty="0">
              <a:solidFill>
                <a:srgbClr val="000000"/>
              </a:solidFill>
              <a:effectLst/>
            </a:endParaRPr>
          </a:p>
          <a:p>
            <a:pPr marL="0"/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Требуется интеграция в экосистему МТС</a:t>
            </a:r>
          </a:p>
          <a:p>
            <a:pPr marL="228600" lvl="1"/>
            <a:endParaRPr lang="ru-RU" sz="12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endParaRPr lang="en-US" sz="12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endParaRPr lang="ru-RU" sz="1200" b="0" i="0" u="none" strike="noStrike" dirty="0">
              <a:solidFill>
                <a:srgbClr val="000000"/>
              </a:solidFill>
              <a:effectLst/>
            </a:endParaRPr>
          </a:p>
          <a:p>
            <a:endParaRPr lang="ru-RU" sz="1400" b="0" i="0" u="none" strike="noStrike" dirty="0">
              <a:solidFill>
                <a:srgbClr val="000000"/>
              </a:solidFill>
              <a:effectLst/>
            </a:endParaRPr>
          </a:p>
          <a:p>
            <a:pPr lvl="1"/>
            <a:endParaRPr lang="ru-RU" sz="1200" dirty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half" idx="2"/>
          </p:nvPr>
        </p:nvSpPr>
        <p:spPr>
          <a:xfrm>
            <a:off x="564520" y="892356"/>
            <a:ext cx="3932237" cy="232371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Образовательная платформа для развития творческих способностей детей и подростков всей стран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Фактически является видео-хостингом со слабо структурированным контентом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Предоставляет материалы для самостоятельного изучения, принимает домашние задания, которые проверяются вручную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С 3000 активных пользователей в год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18" name="Рисунок 17" descr="Описание, учеба, рабочий процесс, обучение">
            <a:extLst>
              <a:ext uri="{FF2B5EF4-FFF2-40B4-BE49-F238E27FC236}">
                <a16:creationId xmlns:a16="http://schemas.microsoft.com/office/drawing/2014/main" id="{C2BD5B11-A179-7ADC-2962-0B62242EBF1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84285" y="4461398"/>
            <a:ext cx="2498070" cy="186324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98" y="206015"/>
            <a:ext cx="2476500" cy="504825"/>
          </a:xfrm>
          <a:prstGeom prst="rect">
            <a:avLst/>
          </a:prstGeom>
        </p:spPr>
      </p:pic>
      <p:grpSp>
        <p:nvGrpSpPr>
          <p:cNvPr id="20" name="Рисунок 27" descr="Работа, рабочий процесс">
            <a:extLst>
              <a:ext uri="{FF2B5EF4-FFF2-40B4-BE49-F238E27FC236}">
                <a16:creationId xmlns:a16="http://schemas.microsoft.com/office/drawing/2014/main" id="{C1ADE0CE-1934-D569-EA23-7007D836A995}"/>
              </a:ext>
            </a:extLst>
          </p:cNvPr>
          <p:cNvGrpSpPr/>
          <p:nvPr/>
        </p:nvGrpSpPr>
        <p:grpSpPr>
          <a:xfrm>
            <a:off x="564520" y="3603139"/>
            <a:ext cx="2356404" cy="1847217"/>
            <a:chOff x="3051338" y="5026650"/>
            <a:chExt cx="1696743" cy="1209391"/>
          </a:xfrm>
        </p:grpSpPr>
        <p:sp>
          <p:nvSpPr>
            <p:cNvPr id="21" name="Полилиния: фигура 115">
              <a:extLst>
                <a:ext uri="{FF2B5EF4-FFF2-40B4-BE49-F238E27FC236}">
                  <a16:creationId xmlns:a16="http://schemas.microsoft.com/office/drawing/2014/main" id="{7FAA2B61-3C93-47D4-92EF-F81B4090453C}"/>
                </a:ext>
              </a:extLst>
            </p:cNvPr>
            <p:cNvSpPr/>
            <p:nvPr/>
          </p:nvSpPr>
          <p:spPr>
            <a:xfrm>
              <a:off x="3561278" y="5632366"/>
              <a:ext cx="544328" cy="561163"/>
            </a:xfrm>
            <a:custGeom>
              <a:avLst/>
              <a:gdLst>
                <a:gd name="connsiteX0" fmla="*/ 2472 w 544327"/>
                <a:gd name="connsiteY0" fmla="*/ 30400 h 561162"/>
                <a:gd name="connsiteX1" fmla="*/ 149160 w 544327"/>
                <a:gd name="connsiteY1" fmla="*/ 4081 h 561162"/>
                <a:gd name="connsiteX2" fmla="*/ 211006 w 544327"/>
                <a:gd name="connsiteY2" fmla="*/ 12218 h 561162"/>
                <a:gd name="connsiteX3" fmla="*/ 256791 w 544327"/>
                <a:gd name="connsiteY3" fmla="*/ 54586 h 561162"/>
                <a:gd name="connsiteX4" fmla="*/ 545510 w 544327"/>
                <a:gd name="connsiteY4" fmla="*/ 562326 h 561162"/>
                <a:gd name="connsiteX5" fmla="*/ 82999 w 544327"/>
                <a:gd name="connsiteY5" fmla="*/ 562326 h 561162"/>
                <a:gd name="connsiteX6" fmla="*/ 2472 w 544327"/>
                <a:gd name="connsiteY6" fmla="*/ 30400 h 56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327" h="561162">
                  <a:moveTo>
                    <a:pt x="2472" y="30400"/>
                  </a:moveTo>
                  <a:lnTo>
                    <a:pt x="149160" y="4081"/>
                  </a:lnTo>
                  <a:cubicBezTo>
                    <a:pt x="170120" y="332"/>
                    <a:pt x="191730" y="3172"/>
                    <a:pt x="211006" y="12218"/>
                  </a:cubicBezTo>
                  <a:cubicBezTo>
                    <a:pt x="230282" y="21264"/>
                    <a:pt x="246281" y="36067"/>
                    <a:pt x="256791" y="54586"/>
                  </a:cubicBezTo>
                  <a:lnTo>
                    <a:pt x="545510" y="562326"/>
                  </a:lnTo>
                  <a:lnTo>
                    <a:pt x="82999" y="562326"/>
                  </a:lnTo>
                  <a:lnTo>
                    <a:pt x="2472" y="3040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116">
              <a:extLst>
                <a:ext uri="{FF2B5EF4-FFF2-40B4-BE49-F238E27FC236}">
                  <a16:creationId xmlns:a16="http://schemas.microsoft.com/office/drawing/2014/main" id="{D2349922-0C04-4C25-B8C2-6071E1AAA33F}"/>
                </a:ext>
              </a:extLst>
            </p:cNvPr>
            <p:cNvSpPr/>
            <p:nvPr/>
          </p:nvSpPr>
          <p:spPr>
            <a:xfrm>
              <a:off x="3583556" y="5845084"/>
              <a:ext cx="516270" cy="347921"/>
            </a:xfrm>
            <a:custGeom>
              <a:avLst/>
              <a:gdLst>
                <a:gd name="connsiteX0" fmla="*/ 55053 w 516269"/>
                <a:gd name="connsiteY0" fmla="*/ 349551 h 347920"/>
                <a:gd name="connsiteX1" fmla="*/ 517564 w 516269"/>
                <a:gd name="connsiteY1" fmla="*/ 349551 h 347920"/>
                <a:gd name="connsiteX2" fmla="*/ 320203 w 516269"/>
                <a:gd name="connsiteY2" fmla="*/ 2472 h 347920"/>
                <a:gd name="connsiteX3" fmla="*/ 2472 w 516269"/>
                <a:gd name="connsiteY3" fmla="*/ 2472 h 347920"/>
                <a:gd name="connsiteX4" fmla="*/ 55053 w 516269"/>
                <a:gd name="connsiteY4" fmla="*/ 349551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269" h="347920">
                  <a:moveTo>
                    <a:pt x="55053" y="349551"/>
                  </a:moveTo>
                  <a:lnTo>
                    <a:pt x="517564" y="349551"/>
                  </a:lnTo>
                  <a:lnTo>
                    <a:pt x="320203" y="2472"/>
                  </a:lnTo>
                  <a:lnTo>
                    <a:pt x="2472" y="2472"/>
                  </a:lnTo>
                  <a:lnTo>
                    <a:pt x="55053" y="349551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117">
              <a:extLst>
                <a:ext uri="{FF2B5EF4-FFF2-40B4-BE49-F238E27FC236}">
                  <a16:creationId xmlns:a16="http://schemas.microsoft.com/office/drawing/2014/main" id="{29DE49C5-7BD1-40F5-BEA7-003301280624}"/>
                </a:ext>
              </a:extLst>
            </p:cNvPr>
            <p:cNvSpPr/>
            <p:nvPr/>
          </p:nvSpPr>
          <p:spPr>
            <a:xfrm>
              <a:off x="3578050" y="5839416"/>
              <a:ext cx="527493" cy="359144"/>
            </a:xfrm>
            <a:custGeom>
              <a:avLst/>
              <a:gdLst>
                <a:gd name="connsiteX0" fmla="*/ 523014 w 527492"/>
                <a:gd name="connsiteY0" fmla="*/ 360831 h 359144"/>
                <a:gd name="connsiteX1" fmla="*/ 60503 w 527492"/>
                <a:gd name="connsiteY1" fmla="*/ 360831 h 359144"/>
                <a:gd name="connsiteX2" fmla="*/ 56805 w 527492"/>
                <a:gd name="connsiteY2" fmla="*/ 359496 h 359144"/>
                <a:gd name="connsiteX3" fmla="*/ 54892 w 527492"/>
                <a:gd name="connsiteY3" fmla="*/ 356062 h 359144"/>
                <a:gd name="connsiteX4" fmla="*/ 2536 w 527492"/>
                <a:gd name="connsiteY4" fmla="*/ 8926 h 359144"/>
                <a:gd name="connsiteX5" fmla="*/ 2695 w 527492"/>
                <a:gd name="connsiteY5" fmla="*/ 6519 h 359144"/>
                <a:gd name="connsiteX6" fmla="*/ 3848 w 527492"/>
                <a:gd name="connsiteY6" fmla="*/ 4403 h 359144"/>
                <a:gd name="connsiteX7" fmla="*/ 5786 w 527492"/>
                <a:gd name="connsiteY7" fmla="*/ 2961 h 359144"/>
                <a:gd name="connsiteX8" fmla="*/ 8148 w 527492"/>
                <a:gd name="connsiteY8" fmla="*/ 2473 h 359144"/>
                <a:gd name="connsiteX9" fmla="*/ 325821 w 527492"/>
                <a:gd name="connsiteY9" fmla="*/ 2473 h 359144"/>
                <a:gd name="connsiteX10" fmla="*/ 328649 w 527492"/>
                <a:gd name="connsiteY10" fmla="*/ 3242 h 359144"/>
                <a:gd name="connsiteX11" fmla="*/ 330703 w 527492"/>
                <a:gd name="connsiteY11" fmla="*/ 5335 h 359144"/>
                <a:gd name="connsiteX12" fmla="*/ 528064 w 527492"/>
                <a:gd name="connsiteY12" fmla="*/ 352414 h 359144"/>
                <a:gd name="connsiteX13" fmla="*/ 528816 w 527492"/>
                <a:gd name="connsiteY13" fmla="*/ 355220 h 359144"/>
                <a:gd name="connsiteX14" fmla="*/ 528064 w 527492"/>
                <a:gd name="connsiteY14" fmla="*/ 358026 h 359144"/>
                <a:gd name="connsiteX15" fmla="*/ 525932 w 527492"/>
                <a:gd name="connsiteY15" fmla="*/ 360130 h 359144"/>
                <a:gd name="connsiteX16" fmla="*/ 523014 w 527492"/>
                <a:gd name="connsiteY16" fmla="*/ 360831 h 359144"/>
                <a:gd name="connsiteX17" fmla="*/ 65329 w 527492"/>
                <a:gd name="connsiteY17" fmla="*/ 349608 h 359144"/>
                <a:gd name="connsiteX18" fmla="*/ 513193 w 527492"/>
                <a:gd name="connsiteY18" fmla="*/ 349608 h 359144"/>
                <a:gd name="connsiteX19" fmla="*/ 322398 w 527492"/>
                <a:gd name="connsiteY19" fmla="*/ 13696 h 359144"/>
                <a:gd name="connsiteX20" fmla="*/ 14488 w 527492"/>
                <a:gd name="connsiteY20" fmla="*/ 13696 h 359144"/>
                <a:gd name="connsiteX21" fmla="*/ 65329 w 527492"/>
                <a:gd name="connsiteY21" fmla="*/ 349608 h 3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27492" h="359144">
                  <a:moveTo>
                    <a:pt x="523014" y="360831"/>
                  </a:moveTo>
                  <a:lnTo>
                    <a:pt x="60503" y="360831"/>
                  </a:lnTo>
                  <a:cubicBezTo>
                    <a:pt x="59151" y="360848"/>
                    <a:pt x="57838" y="360371"/>
                    <a:pt x="56805" y="359496"/>
                  </a:cubicBezTo>
                  <a:cubicBezTo>
                    <a:pt x="55773" y="358620"/>
                    <a:pt x="55094" y="357397"/>
                    <a:pt x="54892" y="356062"/>
                  </a:cubicBezTo>
                  <a:lnTo>
                    <a:pt x="2536" y="8926"/>
                  </a:lnTo>
                  <a:cubicBezTo>
                    <a:pt x="2414" y="8118"/>
                    <a:pt x="2468" y="7299"/>
                    <a:pt x="2695" y="6519"/>
                  </a:cubicBezTo>
                  <a:cubicBezTo>
                    <a:pt x="2922" y="5739"/>
                    <a:pt x="3315" y="5015"/>
                    <a:pt x="3848" y="4403"/>
                  </a:cubicBezTo>
                  <a:cubicBezTo>
                    <a:pt x="4383" y="3786"/>
                    <a:pt x="5044" y="3298"/>
                    <a:pt x="5786" y="2961"/>
                  </a:cubicBezTo>
                  <a:cubicBezTo>
                    <a:pt x="6528" y="2630"/>
                    <a:pt x="7334" y="2462"/>
                    <a:pt x="8148" y="2473"/>
                  </a:cubicBezTo>
                  <a:lnTo>
                    <a:pt x="325821" y="2473"/>
                  </a:lnTo>
                  <a:cubicBezTo>
                    <a:pt x="326814" y="2473"/>
                    <a:pt x="327791" y="2737"/>
                    <a:pt x="328649" y="3242"/>
                  </a:cubicBezTo>
                  <a:cubicBezTo>
                    <a:pt x="329508" y="3747"/>
                    <a:pt x="330215" y="4465"/>
                    <a:pt x="330703" y="5335"/>
                  </a:cubicBezTo>
                  <a:lnTo>
                    <a:pt x="528064" y="352414"/>
                  </a:lnTo>
                  <a:cubicBezTo>
                    <a:pt x="528558" y="353267"/>
                    <a:pt x="528816" y="354232"/>
                    <a:pt x="528816" y="355220"/>
                  </a:cubicBezTo>
                  <a:cubicBezTo>
                    <a:pt x="528816" y="356202"/>
                    <a:pt x="528558" y="357173"/>
                    <a:pt x="528064" y="358026"/>
                  </a:cubicBezTo>
                  <a:cubicBezTo>
                    <a:pt x="527554" y="358907"/>
                    <a:pt x="526818" y="359631"/>
                    <a:pt x="525932" y="360130"/>
                  </a:cubicBezTo>
                  <a:cubicBezTo>
                    <a:pt x="525040" y="360624"/>
                    <a:pt x="524029" y="360865"/>
                    <a:pt x="523014" y="360831"/>
                  </a:cubicBezTo>
                  <a:close/>
                  <a:moveTo>
                    <a:pt x="65329" y="349608"/>
                  </a:moveTo>
                  <a:lnTo>
                    <a:pt x="513193" y="349608"/>
                  </a:lnTo>
                  <a:lnTo>
                    <a:pt x="322398" y="13696"/>
                  </a:lnTo>
                  <a:lnTo>
                    <a:pt x="14488" y="13696"/>
                  </a:lnTo>
                  <a:lnTo>
                    <a:pt x="65329" y="349608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118">
              <a:extLst>
                <a:ext uri="{FF2B5EF4-FFF2-40B4-BE49-F238E27FC236}">
                  <a16:creationId xmlns:a16="http://schemas.microsoft.com/office/drawing/2014/main" id="{1F76F68D-F708-433A-A030-C99340D8AEA6}"/>
                </a:ext>
              </a:extLst>
            </p:cNvPr>
            <p:cNvSpPr/>
            <p:nvPr/>
          </p:nvSpPr>
          <p:spPr>
            <a:xfrm>
              <a:off x="3522873" y="5026650"/>
              <a:ext cx="454542" cy="443318"/>
            </a:xfrm>
            <a:custGeom>
              <a:avLst/>
              <a:gdLst>
                <a:gd name="connsiteX0" fmla="*/ 179596 w 454541"/>
                <a:gd name="connsiteY0" fmla="*/ 199471 h 443318"/>
                <a:gd name="connsiteX1" fmla="*/ 453051 w 454541"/>
                <a:gd name="connsiteY1" fmla="*/ 223826 h 443318"/>
                <a:gd name="connsiteX2" fmla="*/ 418068 w 454541"/>
                <a:gd name="connsiteY2" fmla="*/ 107139 h 443318"/>
                <a:gd name="connsiteX3" fmla="*/ 327451 w 454541"/>
                <a:gd name="connsiteY3" fmla="*/ 25720 h 443318"/>
                <a:gd name="connsiteX4" fmla="*/ 207705 w 454541"/>
                <a:gd name="connsiteY4" fmla="*/ 3369 h 443318"/>
                <a:gd name="connsiteX5" fmla="*/ 93823 w 454541"/>
                <a:gd name="connsiteY5" fmla="*/ 46620 h 443318"/>
                <a:gd name="connsiteX6" fmla="*/ 19100 w 454541"/>
                <a:gd name="connsiteY6" fmla="*/ 142830 h 443318"/>
                <a:gd name="connsiteX7" fmla="*/ 5383 w 454541"/>
                <a:gd name="connsiteY7" fmla="*/ 263874 h 443318"/>
                <a:gd name="connsiteX8" fmla="*/ 56679 w 454541"/>
                <a:gd name="connsiteY8" fmla="*/ 374365 h 443318"/>
                <a:gd name="connsiteX9" fmla="*/ 157992 w 454541"/>
                <a:gd name="connsiteY9" fmla="*/ 442006 h 443318"/>
                <a:gd name="connsiteX10" fmla="*/ 179596 w 454541"/>
                <a:gd name="connsiteY10" fmla="*/ 199471 h 44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4541" h="443318">
                  <a:moveTo>
                    <a:pt x="179596" y="199471"/>
                  </a:moveTo>
                  <a:lnTo>
                    <a:pt x="453051" y="223826"/>
                  </a:lnTo>
                  <a:cubicBezTo>
                    <a:pt x="452327" y="182456"/>
                    <a:pt x="440223" y="142084"/>
                    <a:pt x="418068" y="107139"/>
                  </a:cubicBezTo>
                  <a:cubicBezTo>
                    <a:pt x="395913" y="72194"/>
                    <a:pt x="364561" y="44024"/>
                    <a:pt x="327451" y="25720"/>
                  </a:cubicBezTo>
                  <a:cubicBezTo>
                    <a:pt x="290347" y="7415"/>
                    <a:pt x="248917" y="-318"/>
                    <a:pt x="207705" y="3369"/>
                  </a:cubicBezTo>
                  <a:cubicBezTo>
                    <a:pt x="166493" y="7056"/>
                    <a:pt x="127094" y="22020"/>
                    <a:pt x="93823" y="46620"/>
                  </a:cubicBezTo>
                  <a:cubicBezTo>
                    <a:pt x="60555" y="71221"/>
                    <a:pt x="34700" y="104507"/>
                    <a:pt x="19100" y="142830"/>
                  </a:cubicBezTo>
                  <a:cubicBezTo>
                    <a:pt x="3499" y="181153"/>
                    <a:pt x="-1246" y="223032"/>
                    <a:pt x="5383" y="263874"/>
                  </a:cubicBezTo>
                  <a:cubicBezTo>
                    <a:pt x="12011" y="304716"/>
                    <a:pt x="29760" y="342944"/>
                    <a:pt x="56679" y="374365"/>
                  </a:cubicBezTo>
                  <a:cubicBezTo>
                    <a:pt x="83599" y="405788"/>
                    <a:pt x="118654" y="429190"/>
                    <a:pt x="157992" y="442006"/>
                  </a:cubicBezTo>
                  <a:lnTo>
                    <a:pt x="179596" y="199471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119">
              <a:extLst>
                <a:ext uri="{FF2B5EF4-FFF2-40B4-BE49-F238E27FC236}">
                  <a16:creationId xmlns:a16="http://schemas.microsoft.com/office/drawing/2014/main" id="{350F0D38-3AE9-431D-96C9-E8EF34B77C12}"/>
                </a:ext>
              </a:extLst>
            </p:cNvPr>
            <p:cNvSpPr/>
            <p:nvPr/>
          </p:nvSpPr>
          <p:spPr>
            <a:xfrm>
              <a:off x="3345903" y="5215855"/>
              <a:ext cx="269358" cy="269358"/>
            </a:xfrm>
            <a:custGeom>
              <a:avLst/>
              <a:gdLst>
                <a:gd name="connsiteX0" fmla="*/ 207364 w 269358"/>
                <a:gd name="connsiteY0" fmla="*/ 247223 h 269358"/>
                <a:gd name="connsiteX1" fmla="*/ 247222 w 269358"/>
                <a:gd name="connsiteY1" fmla="*/ 63492 h 269358"/>
                <a:gd name="connsiteX2" fmla="*/ 63492 w 269358"/>
                <a:gd name="connsiteY2" fmla="*/ 23633 h 269358"/>
                <a:gd name="connsiteX3" fmla="*/ 23633 w 269358"/>
                <a:gd name="connsiteY3" fmla="*/ 207364 h 269358"/>
                <a:gd name="connsiteX4" fmla="*/ 207364 w 269358"/>
                <a:gd name="connsiteY4" fmla="*/ 247223 h 26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58" h="269358">
                  <a:moveTo>
                    <a:pt x="207364" y="247223"/>
                  </a:moveTo>
                  <a:cubicBezTo>
                    <a:pt x="269104" y="207493"/>
                    <a:pt x="286949" y="125234"/>
                    <a:pt x="247222" y="63492"/>
                  </a:cubicBezTo>
                  <a:cubicBezTo>
                    <a:pt x="207493" y="1749"/>
                    <a:pt x="125234" y="-16096"/>
                    <a:pt x="63492" y="23633"/>
                  </a:cubicBezTo>
                  <a:cubicBezTo>
                    <a:pt x="1749" y="63363"/>
                    <a:pt x="-16096" y="145621"/>
                    <a:pt x="23633" y="207364"/>
                  </a:cubicBezTo>
                  <a:cubicBezTo>
                    <a:pt x="63363" y="269107"/>
                    <a:pt x="145622" y="286952"/>
                    <a:pt x="207364" y="247223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120">
              <a:extLst>
                <a:ext uri="{FF2B5EF4-FFF2-40B4-BE49-F238E27FC236}">
                  <a16:creationId xmlns:a16="http://schemas.microsoft.com/office/drawing/2014/main" id="{D38F6CF6-BD88-449A-B17B-86B05B95FF8A}"/>
                </a:ext>
              </a:extLst>
            </p:cNvPr>
            <p:cNvSpPr/>
            <p:nvPr/>
          </p:nvSpPr>
          <p:spPr>
            <a:xfrm>
              <a:off x="3333851" y="5192171"/>
              <a:ext cx="280581" cy="280581"/>
            </a:xfrm>
            <a:custGeom>
              <a:avLst/>
              <a:gdLst>
                <a:gd name="connsiteX0" fmla="*/ 141012 w 280581"/>
                <a:gd name="connsiteY0" fmla="*/ 279626 h 280581"/>
                <a:gd name="connsiteX1" fmla="*/ 111663 w 280581"/>
                <a:gd name="connsiteY1" fmla="*/ 276428 h 280581"/>
                <a:gd name="connsiteX2" fmla="*/ 41381 w 280581"/>
                <a:gd name="connsiteY2" fmla="*/ 237292 h 280581"/>
                <a:gd name="connsiteX3" fmla="*/ 4688 w 280581"/>
                <a:gd name="connsiteY3" fmla="*/ 165704 h 280581"/>
                <a:gd name="connsiteX4" fmla="*/ 13955 w 280581"/>
                <a:gd name="connsiteY4" fmla="*/ 85796 h 280581"/>
                <a:gd name="connsiteX5" fmla="*/ 66057 w 280581"/>
                <a:gd name="connsiteY5" fmla="*/ 24506 h 280581"/>
                <a:gd name="connsiteX6" fmla="*/ 143431 w 280581"/>
                <a:gd name="connsiteY6" fmla="*/ 2493 h 280581"/>
                <a:gd name="connsiteX7" fmla="*/ 219991 w 280581"/>
                <a:gd name="connsiteY7" fmla="*/ 27180 h 280581"/>
                <a:gd name="connsiteX8" fmla="*/ 269934 w 280581"/>
                <a:gd name="connsiteY8" fmla="*/ 90243 h 280581"/>
                <a:gd name="connsiteX9" fmla="*/ 276420 w 280581"/>
                <a:gd name="connsiteY9" fmla="*/ 170424 h 280581"/>
                <a:gd name="connsiteX10" fmla="*/ 227948 w 280581"/>
                <a:gd name="connsiteY10" fmla="*/ 248875 h 280581"/>
                <a:gd name="connsiteX11" fmla="*/ 141012 w 280581"/>
                <a:gd name="connsiteY11" fmla="*/ 279626 h 280581"/>
                <a:gd name="connsiteX12" fmla="*/ 140729 w 280581"/>
                <a:gd name="connsiteY12" fmla="*/ 13636 h 280581"/>
                <a:gd name="connsiteX13" fmla="*/ 72878 w 280581"/>
                <a:gd name="connsiteY13" fmla="*/ 33371 h 280581"/>
                <a:gd name="connsiteX14" fmla="*/ 25984 w 280581"/>
                <a:gd name="connsiteY14" fmla="*/ 86235 h 280581"/>
                <a:gd name="connsiteX15" fmla="*/ 14481 w 280581"/>
                <a:gd name="connsiteY15" fmla="*/ 155957 h 280581"/>
                <a:gd name="connsiteX16" fmla="*/ 41906 w 280581"/>
                <a:gd name="connsiteY16" fmla="*/ 221082 h 280581"/>
                <a:gd name="connsiteX17" fmla="*/ 99823 w 280581"/>
                <a:gd name="connsiteY17" fmla="*/ 261569 h 280581"/>
                <a:gd name="connsiteX18" fmla="*/ 170407 w 280581"/>
                <a:gd name="connsiteY18" fmla="*/ 264959 h 280581"/>
                <a:gd name="connsiteX19" fmla="*/ 231935 w 280581"/>
                <a:gd name="connsiteY19" fmla="*/ 230209 h 280581"/>
                <a:gd name="connsiteX20" fmla="*/ 265476 w 280581"/>
                <a:gd name="connsiteY20" fmla="*/ 168011 h 280581"/>
                <a:gd name="connsiteX21" fmla="*/ 264903 w 280581"/>
                <a:gd name="connsiteY21" fmla="*/ 111608 h 280581"/>
                <a:gd name="connsiteX22" fmla="*/ 240037 w 280581"/>
                <a:gd name="connsiteY22" fmla="*/ 60978 h 280581"/>
                <a:gd name="connsiteX23" fmla="*/ 195755 w 280581"/>
                <a:gd name="connsiteY23" fmla="*/ 26039 h 280581"/>
                <a:gd name="connsiteX24" fmla="*/ 140729 w 280581"/>
                <a:gd name="connsiteY24" fmla="*/ 13636 h 28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0581" h="280581">
                  <a:moveTo>
                    <a:pt x="141012" y="279626"/>
                  </a:moveTo>
                  <a:cubicBezTo>
                    <a:pt x="131141" y="279639"/>
                    <a:pt x="121299" y="278566"/>
                    <a:pt x="111663" y="276428"/>
                  </a:cubicBezTo>
                  <a:cubicBezTo>
                    <a:pt x="84881" y="270620"/>
                    <a:pt x="60422" y="257001"/>
                    <a:pt x="41381" y="237292"/>
                  </a:cubicBezTo>
                  <a:cubicBezTo>
                    <a:pt x="22339" y="217583"/>
                    <a:pt x="9570" y="192670"/>
                    <a:pt x="4688" y="165704"/>
                  </a:cubicBezTo>
                  <a:cubicBezTo>
                    <a:pt x="-193" y="138738"/>
                    <a:pt x="3032" y="110930"/>
                    <a:pt x="13955" y="85796"/>
                  </a:cubicBezTo>
                  <a:cubicBezTo>
                    <a:pt x="24879" y="60663"/>
                    <a:pt x="43011" y="39334"/>
                    <a:pt x="66057" y="24506"/>
                  </a:cubicBezTo>
                  <a:cubicBezTo>
                    <a:pt x="89104" y="9678"/>
                    <a:pt x="116030" y="2017"/>
                    <a:pt x="143431" y="2493"/>
                  </a:cubicBezTo>
                  <a:cubicBezTo>
                    <a:pt x="170831" y="2970"/>
                    <a:pt x="197473" y="11561"/>
                    <a:pt x="219991" y="27180"/>
                  </a:cubicBezTo>
                  <a:cubicBezTo>
                    <a:pt x="242509" y="42799"/>
                    <a:pt x="259889" y="64745"/>
                    <a:pt x="269934" y="90243"/>
                  </a:cubicBezTo>
                  <a:cubicBezTo>
                    <a:pt x="279977" y="115740"/>
                    <a:pt x="282233" y="143644"/>
                    <a:pt x="276420" y="170424"/>
                  </a:cubicBezTo>
                  <a:cubicBezTo>
                    <a:pt x="269677" y="201335"/>
                    <a:pt x="252575" y="229014"/>
                    <a:pt x="227948" y="248875"/>
                  </a:cubicBezTo>
                  <a:cubicBezTo>
                    <a:pt x="203321" y="268736"/>
                    <a:pt x="172649" y="279586"/>
                    <a:pt x="141012" y="279626"/>
                  </a:cubicBezTo>
                  <a:close/>
                  <a:moveTo>
                    <a:pt x="140729" y="13636"/>
                  </a:moveTo>
                  <a:cubicBezTo>
                    <a:pt x="116703" y="13683"/>
                    <a:pt x="93181" y="20526"/>
                    <a:pt x="72878" y="33371"/>
                  </a:cubicBezTo>
                  <a:cubicBezTo>
                    <a:pt x="52574" y="46217"/>
                    <a:pt x="36317" y="64544"/>
                    <a:pt x="25984" y="86235"/>
                  </a:cubicBezTo>
                  <a:cubicBezTo>
                    <a:pt x="15651" y="107925"/>
                    <a:pt x="11664" y="132096"/>
                    <a:pt x="14481" y="155957"/>
                  </a:cubicBezTo>
                  <a:cubicBezTo>
                    <a:pt x="17299" y="179817"/>
                    <a:pt x="26805" y="202394"/>
                    <a:pt x="41906" y="221082"/>
                  </a:cubicBezTo>
                  <a:cubicBezTo>
                    <a:pt x="57007" y="239769"/>
                    <a:pt x="77086" y="253805"/>
                    <a:pt x="99823" y="261569"/>
                  </a:cubicBezTo>
                  <a:cubicBezTo>
                    <a:pt x="122561" y="269333"/>
                    <a:pt x="147030" y="270508"/>
                    <a:pt x="170407" y="264959"/>
                  </a:cubicBezTo>
                  <a:cubicBezTo>
                    <a:pt x="193783" y="259410"/>
                    <a:pt x="215113" y="247363"/>
                    <a:pt x="231935" y="230209"/>
                  </a:cubicBezTo>
                  <a:cubicBezTo>
                    <a:pt x="248757" y="213054"/>
                    <a:pt x="260384" y="191492"/>
                    <a:pt x="265476" y="168011"/>
                  </a:cubicBezTo>
                  <a:cubicBezTo>
                    <a:pt x="269499" y="149403"/>
                    <a:pt x="269305" y="130130"/>
                    <a:pt x="264903" y="111608"/>
                  </a:cubicBezTo>
                  <a:cubicBezTo>
                    <a:pt x="260501" y="93086"/>
                    <a:pt x="252003" y="75785"/>
                    <a:pt x="240037" y="60978"/>
                  </a:cubicBezTo>
                  <a:cubicBezTo>
                    <a:pt x="228072" y="46170"/>
                    <a:pt x="212940" y="34231"/>
                    <a:pt x="195755" y="26039"/>
                  </a:cubicBezTo>
                  <a:cubicBezTo>
                    <a:pt x="178570" y="17846"/>
                    <a:pt x="159767" y="13608"/>
                    <a:pt x="140729" y="1363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121">
              <a:extLst>
                <a:ext uri="{FF2B5EF4-FFF2-40B4-BE49-F238E27FC236}">
                  <a16:creationId xmlns:a16="http://schemas.microsoft.com/office/drawing/2014/main" id="{D0E510CF-1937-4E7F-B345-CD9B05FA0356}"/>
                </a:ext>
              </a:extLst>
            </p:cNvPr>
            <p:cNvSpPr/>
            <p:nvPr/>
          </p:nvSpPr>
          <p:spPr>
            <a:xfrm>
              <a:off x="3508061" y="5121565"/>
              <a:ext cx="404037" cy="510658"/>
            </a:xfrm>
            <a:custGeom>
              <a:avLst/>
              <a:gdLst>
                <a:gd name="connsiteX0" fmla="*/ 265396 w 404037"/>
                <a:gd name="connsiteY0" fmla="*/ 2484 h 510657"/>
                <a:gd name="connsiteX1" fmla="*/ 145476 w 404037"/>
                <a:gd name="connsiteY1" fmla="*/ 90250 h 510657"/>
                <a:gd name="connsiteX2" fmla="*/ 144970 w 404037"/>
                <a:gd name="connsiteY2" fmla="*/ 90250 h 510657"/>
                <a:gd name="connsiteX3" fmla="*/ 105184 w 404037"/>
                <a:gd name="connsiteY3" fmla="*/ 40531 h 510657"/>
                <a:gd name="connsiteX4" fmla="*/ 40258 w 404037"/>
                <a:gd name="connsiteY4" fmla="*/ 90530 h 510657"/>
                <a:gd name="connsiteX5" fmla="*/ 77800 w 404037"/>
                <a:gd name="connsiteY5" fmla="*/ 168139 h 510657"/>
                <a:gd name="connsiteX6" fmla="*/ 96542 w 404037"/>
                <a:gd name="connsiteY6" fmla="*/ 168139 h 510657"/>
                <a:gd name="connsiteX7" fmla="*/ 6027 w 404037"/>
                <a:gd name="connsiteY7" fmla="*/ 421392 h 510657"/>
                <a:gd name="connsiteX8" fmla="*/ 7534 w 404037"/>
                <a:gd name="connsiteY8" fmla="*/ 466194 h 510657"/>
                <a:gd name="connsiteX9" fmla="*/ 39305 w 404037"/>
                <a:gd name="connsiteY9" fmla="*/ 497822 h 510657"/>
                <a:gd name="connsiteX10" fmla="*/ 52939 w 404037"/>
                <a:gd name="connsiteY10" fmla="*/ 503715 h 510657"/>
                <a:gd name="connsiteX11" fmla="*/ 184027 w 404037"/>
                <a:gd name="connsiteY11" fmla="*/ 429865 h 510657"/>
                <a:gd name="connsiteX12" fmla="*/ 198618 w 404037"/>
                <a:gd name="connsiteY12" fmla="*/ 388956 h 510657"/>
                <a:gd name="connsiteX13" fmla="*/ 259504 w 404037"/>
                <a:gd name="connsiteY13" fmla="*/ 409327 h 510657"/>
                <a:gd name="connsiteX14" fmla="*/ 405687 w 404037"/>
                <a:gd name="connsiteY14" fmla="*/ 207925 h 510657"/>
                <a:gd name="connsiteX15" fmla="*/ 265396 w 404037"/>
                <a:gd name="connsiteY15" fmla="*/ 2484 h 51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037" h="510657">
                  <a:moveTo>
                    <a:pt x="265396" y="2484"/>
                  </a:moveTo>
                  <a:cubicBezTo>
                    <a:pt x="216070" y="1754"/>
                    <a:pt x="172018" y="36602"/>
                    <a:pt x="145476" y="90250"/>
                  </a:cubicBezTo>
                  <a:lnTo>
                    <a:pt x="144970" y="90250"/>
                  </a:lnTo>
                  <a:cubicBezTo>
                    <a:pt x="142108" y="65390"/>
                    <a:pt x="126957" y="45357"/>
                    <a:pt x="105184" y="40531"/>
                  </a:cubicBezTo>
                  <a:cubicBezTo>
                    <a:pt x="77743" y="34919"/>
                    <a:pt x="48619" y="57365"/>
                    <a:pt x="40258" y="90530"/>
                  </a:cubicBezTo>
                  <a:cubicBezTo>
                    <a:pt x="31223" y="126669"/>
                    <a:pt x="48395" y="161742"/>
                    <a:pt x="77800" y="168139"/>
                  </a:cubicBezTo>
                  <a:cubicBezTo>
                    <a:pt x="83974" y="169487"/>
                    <a:pt x="90366" y="169487"/>
                    <a:pt x="96542" y="168139"/>
                  </a:cubicBezTo>
                  <a:lnTo>
                    <a:pt x="6027" y="421392"/>
                  </a:lnTo>
                  <a:cubicBezTo>
                    <a:pt x="813" y="435974"/>
                    <a:pt x="1351" y="451995"/>
                    <a:pt x="7534" y="466194"/>
                  </a:cubicBezTo>
                  <a:cubicBezTo>
                    <a:pt x="13716" y="480393"/>
                    <a:pt x="25078" y="491706"/>
                    <a:pt x="39305" y="497822"/>
                  </a:cubicBezTo>
                  <a:lnTo>
                    <a:pt x="52939" y="503715"/>
                  </a:lnTo>
                  <a:cubicBezTo>
                    <a:pt x="103052" y="525319"/>
                    <a:pt x="161749" y="492491"/>
                    <a:pt x="184027" y="429865"/>
                  </a:cubicBezTo>
                  <a:lnTo>
                    <a:pt x="198618" y="388956"/>
                  </a:lnTo>
                  <a:cubicBezTo>
                    <a:pt x="216418" y="401694"/>
                    <a:pt x="237624" y="408791"/>
                    <a:pt x="259504" y="409327"/>
                  </a:cubicBezTo>
                  <a:cubicBezTo>
                    <a:pt x="338572" y="410449"/>
                    <a:pt x="404003" y="320270"/>
                    <a:pt x="405687" y="207925"/>
                  </a:cubicBezTo>
                  <a:cubicBezTo>
                    <a:pt x="407370" y="95581"/>
                    <a:pt x="344520" y="3606"/>
                    <a:pt x="265396" y="2484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122">
              <a:extLst>
                <a:ext uri="{FF2B5EF4-FFF2-40B4-BE49-F238E27FC236}">
                  <a16:creationId xmlns:a16="http://schemas.microsoft.com/office/drawing/2014/main" id="{29990ED2-C200-4205-8DB6-7DCE7D20040E}"/>
                </a:ext>
              </a:extLst>
            </p:cNvPr>
            <p:cNvSpPr/>
            <p:nvPr/>
          </p:nvSpPr>
          <p:spPr>
            <a:xfrm>
              <a:off x="3502468" y="5115953"/>
              <a:ext cx="415260" cy="521881"/>
            </a:xfrm>
            <a:custGeom>
              <a:avLst/>
              <a:gdLst>
                <a:gd name="connsiteX0" fmla="*/ 90463 w 415260"/>
                <a:gd name="connsiteY0" fmla="*/ 521616 h 521881"/>
                <a:gd name="connsiteX1" fmla="*/ 56286 w 415260"/>
                <a:gd name="connsiteY1" fmla="*/ 514601 h 521881"/>
                <a:gd name="connsiteX2" fmla="*/ 42651 w 415260"/>
                <a:gd name="connsiteY2" fmla="*/ 508709 h 521881"/>
                <a:gd name="connsiteX3" fmla="*/ 8025 w 415260"/>
                <a:gd name="connsiteY3" fmla="*/ 474119 h 521881"/>
                <a:gd name="connsiteX4" fmla="*/ 6289 w 415260"/>
                <a:gd name="connsiteY4" fmla="*/ 425208 h 521881"/>
                <a:gd name="connsiteX5" fmla="*/ 93828 w 415260"/>
                <a:gd name="connsiteY5" fmla="*/ 180092 h 521881"/>
                <a:gd name="connsiteX6" fmla="*/ 82212 w 415260"/>
                <a:gd name="connsiteY6" fmla="*/ 178970 h 521881"/>
                <a:gd name="connsiteX7" fmla="*/ 62857 w 415260"/>
                <a:gd name="connsiteY7" fmla="*/ 170062 h 521881"/>
                <a:gd name="connsiteX8" fmla="*/ 48542 w 415260"/>
                <a:gd name="connsiteY8" fmla="*/ 154278 h 521881"/>
                <a:gd name="connsiteX9" fmla="*/ 38500 w 415260"/>
                <a:gd name="connsiteY9" fmla="*/ 125235 h 521881"/>
                <a:gd name="connsiteX10" fmla="*/ 40517 w 415260"/>
                <a:gd name="connsiteY10" fmla="*/ 94571 h 521881"/>
                <a:gd name="connsiteX11" fmla="*/ 112011 w 415260"/>
                <a:gd name="connsiteY11" fmla="*/ 40419 h 521881"/>
                <a:gd name="connsiteX12" fmla="*/ 138027 w 415260"/>
                <a:gd name="connsiteY12" fmla="*/ 54785 h 521881"/>
                <a:gd name="connsiteX13" fmla="*/ 153144 w 415260"/>
                <a:gd name="connsiteY13" fmla="*/ 80374 h 521881"/>
                <a:gd name="connsiteX14" fmla="*/ 270988 w 415260"/>
                <a:gd name="connsiteY14" fmla="*/ 2484 h 521881"/>
                <a:gd name="connsiteX15" fmla="*/ 416891 w 415260"/>
                <a:gd name="connsiteY15" fmla="*/ 213706 h 521881"/>
                <a:gd name="connsiteX16" fmla="*/ 371998 w 415260"/>
                <a:gd name="connsiteY16" fmla="*/ 360225 h 521881"/>
                <a:gd name="connsiteX17" fmla="*/ 265377 w 415260"/>
                <a:gd name="connsiteY17" fmla="*/ 420662 h 521881"/>
                <a:gd name="connsiteX18" fmla="*/ 207465 w 415260"/>
                <a:gd name="connsiteY18" fmla="*/ 403267 h 521881"/>
                <a:gd name="connsiteX19" fmla="*/ 195231 w 415260"/>
                <a:gd name="connsiteY19" fmla="*/ 437441 h 521881"/>
                <a:gd name="connsiteX20" fmla="*/ 127892 w 415260"/>
                <a:gd name="connsiteY20" fmla="*/ 513704 h 521881"/>
                <a:gd name="connsiteX21" fmla="*/ 90463 w 415260"/>
                <a:gd name="connsiteY21" fmla="*/ 521616 h 521881"/>
                <a:gd name="connsiteX22" fmla="*/ 102133 w 415260"/>
                <a:gd name="connsiteY22" fmla="*/ 167802 h 521881"/>
                <a:gd name="connsiteX23" fmla="*/ 104475 w 415260"/>
                <a:gd name="connsiteY23" fmla="*/ 168292 h 521881"/>
                <a:gd name="connsiteX24" fmla="*/ 106399 w 415260"/>
                <a:gd name="connsiteY24" fmla="*/ 169710 h 521881"/>
                <a:gd name="connsiteX25" fmla="*/ 107701 w 415260"/>
                <a:gd name="connsiteY25" fmla="*/ 172371 h 521881"/>
                <a:gd name="connsiteX26" fmla="*/ 107466 w 415260"/>
                <a:gd name="connsiteY26" fmla="*/ 175322 h 521881"/>
                <a:gd name="connsiteX27" fmla="*/ 16892 w 415260"/>
                <a:gd name="connsiteY27" fmla="*/ 428967 h 521881"/>
                <a:gd name="connsiteX28" fmla="*/ 18279 w 415260"/>
                <a:gd name="connsiteY28" fmla="*/ 469638 h 521881"/>
                <a:gd name="connsiteX29" fmla="*/ 47085 w 415260"/>
                <a:gd name="connsiteY29" fmla="*/ 498384 h 521881"/>
                <a:gd name="connsiteX30" fmla="*/ 60777 w 415260"/>
                <a:gd name="connsiteY30" fmla="*/ 503995 h 521881"/>
                <a:gd name="connsiteX31" fmla="*/ 92035 w 415260"/>
                <a:gd name="connsiteY31" fmla="*/ 510095 h 521881"/>
                <a:gd name="connsiteX32" fmla="*/ 123122 w 415260"/>
                <a:gd name="connsiteY32" fmla="*/ 503154 h 521881"/>
                <a:gd name="connsiteX33" fmla="*/ 184345 w 415260"/>
                <a:gd name="connsiteY33" fmla="*/ 433401 h 521881"/>
                <a:gd name="connsiteX34" fmla="*/ 198935 w 415260"/>
                <a:gd name="connsiteY34" fmla="*/ 392492 h 521881"/>
                <a:gd name="connsiteX35" fmla="*/ 200321 w 415260"/>
                <a:gd name="connsiteY35" fmla="*/ 390361 h 521881"/>
                <a:gd name="connsiteX36" fmla="*/ 202510 w 415260"/>
                <a:gd name="connsiteY36" fmla="*/ 389061 h 521881"/>
                <a:gd name="connsiteX37" fmla="*/ 205046 w 415260"/>
                <a:gd name="connsiteY37" fmla="*/ 388860 h 521881"/>
                <a:gd name="connsiteX38" fmla="*/ 207409 w 415260"/>
                <a:gd name="connsiteY38" fmla="*/ 389798 h 521881"/>
                <a:gd name="connsiteX39" fmla="*/ 265208 w 415260"/>
                <a:gd name="connsiteY39" fmla="*/ 409158 h 521881"/>
                <a:gd name="connsiteX40" fmla="*/ 266611 w 415260"/>
                <a:gd name="connsiteY40" fmla="*/ 409158 h 521881"/>
                <a:gd name="connsiteX41" fmla="*/ 362682 w 415260"/>
                <a:gd name="connsiteY41" fmla="*/ 353042 h 521881"/>
                <a:gd name="connsiteX42" fmla="*/ 405667 w 415260"/>
                <a:gd name="connsiteY42" fmla="*/ 212752 h 521881"/>
                <a:gd name="connsiteX43" fmla="*/ 270988 w 415260"/>
                <a:gd name="connsiteY43" fmla="*/ 12922 h 521881"/>
                <a:gd name="connsiteX44" fmla="*/ 156175 w 415260"/>
                <a:gd name="connsiteY44" fmla="*/ 97545 h 521881"/>
                <a:gd name="connsiteX45" fmla="*/ 153094 w 415260"/>
                <a:gd name="connsiteY45" fmla="*/ 100336 h 521881"/>
                <a:gd name="connsiteX46" fmla="*/ 148936 w 415260"/>
                <a:gd name="connsiteY46" fmla="*/ 100238 h 521881"/>
                <a:gd name="connsiteX47" fmla="*/ 148374 w 415260"/>
                <a:gd name="connsiteY47" fmla="*/ 99958 h 521881"/>
                <a:gd name="connsiteX48" fmla="*/ 146090 w 415260"/>
                <a:gd name="connsiteY48" fmla="*/ 98164 h 521881"/>
                <a:gd name="connsiteX49" fmla="*/ 145007 w 415260"/>
                <a:gd name="connsiteY49" fmla="*/ 95469 h 521881"/>
                <a:gd name="connsiteX50" fmla="*/ 109654 w 415260"/>
                <a:gd name="connsiteY50" fmla="*/ 50576 h 521881"/>
                <a:gd name="connsiteX51" fmla="*/ 51348 w 415260"/>
                <a:gd name="connsiteY51" fmla="*/ 96423 h 521881"/>
                <a:gd name="connsiteX52" fmla="*/ 49537 w 415260"/>
                <a:gd name="connsiteY52" fmla="*/ 122629 h 521881"/>
                <a:gd name="connsiteX53" fmla="*/ 58026 w 415260"/>
                <a:gd name="connsiteY53" fmla="*/ 147488 h 521881"/>
                <a:gd name="connsiteX54" fmla="*/ 69309 w 415260"/>
                <a:gd name="connsiteY54" fmla="*/ 160062 h 521881"/>
                <a:gd name="connsiteX55" fmla="*/ 84626 w 415260"/>
                <a:gd name="connsiteY55" fmla="*/ 167186 h 521881"/>
                <a:gd name="connsiteX56" fmla="*/ 101067 w 415260"/>
                <a:gd name="connsiteY56" fmla="*/ 167186 h 521881"/>
                <a:gd name="connsiteX57" fmla="*/ 102133 w 415260"/>
                <a:gd name="connsiteY57" fmla="*/ 167802 h 52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15260" h="521881">
                  <a:moveTo>
                    <a:pt x="90463" y="521616"/>
                  </a:moveTo>
                  <a:cubicBezTo>
                    <a:pt x="78713" y="521616"/>
                    <a:pt x="67084" y="519231"/>
                    <a:pt x="56286" y="514601"/>
                  </a:cubicBezTo>
                  <a:lnTo>
                    <a:pt x="42651" y="508709"/>
                  </a:lnTo>
                  <a:cubicBezTo>
                    <a:pt x="27148" y="501975"/>
                    <a:pt x="14774" y="489613"/>
                    <a:pt x="8025" y="474119"/>
                  </a:cubicBezTo>
                  <a:cubicBezTo>
                    <a:pt x="1277" y="458623"/>
                    <a:pt x="657" y="441144"/>
                    <a:pt x="6289" y="425208"/>
                  </a:cubicBezTo>
                  <a:lnTo>
                    <a:pt x="93828" y="180092"/>
                  </a:lnTo>
                  <a:cubicBezTo>
                    <a:pt x="89924" y="180197"/>
                    <a:pt x="86024" y="179820"/>
                    <a:pt x="82212" y="178970"/>
                  </a:cubicBezTo>
                  <a:cubicBezTo>
                    <a:pt x="75226" y="177334"/>
                    <a:pt x="68643" y="174305"/>
                    <a:pt x="62857" y="170062"/>
                  </a:cubicBezTo>
                  <a:cubicBezTo>
                    <a:pt x="57071" y="165819"/>
                    <a:pt x="52202" y="160450"/>
                    <a:pt x="48542" y="154278"/>
                  </a:cubicBezTo>
                  <a:cubicBezTo>
                    <a:pt x="43293" y="145364"/>
                    <a:pt x="39879" y="135489"/>
                    <a:pt x="38500" y="125235"/>
                  </a:cubicBezTo>
                  <a:cubicBezTo>
                    <a:pt x="37122" y="114981"/>
                    <a:pt x="37807" y="104556"/>
                    <a:pt x="40517" y="94571"/>
                  </a:cubicBezTo>
                  <a:cubicBezTo>
                    <a:pt x="49608" y="58320"/>
                    <a:pt x="81652" y="34077"/>
                    <a:pt x="112011" y="40419"/>
                  </a:cubicBezTo>
                  <a:cubicBezTo>
                    <a:pt x="121809" y="42797"/>
                    <a:pt x="130793" y="47758"/>
                    <a:pt x="138027" y="54785"/>
                  </a:cubicBezTo>
                  <a:cubicBezTo>
                    <a:pt x="145260" y="61811"/>
                    <a:pt x="150484" y="70647"/>
                    <a:pt x="153144" y="80374"/>
                  </a:cubicBezTo>
                  <a:cubicBezTo>
                    <a:pt x="181932" y="30655"/>
                    <a:pt x="225254" y="1811"/>
                    <a:pt x="270988" y="2484"/>
                  </a:cubicBezTo>
                  <a:cubicBezTo>
                    <a:pt x="353030" y="3662"/>
                    <a:pt x="418406" y="98443"/>
                    <a:pt x="416891" y="213706"/>
                  </a:cubicBezTo>
                  <a:cubicBezTo>
                    <a:pt x="416049" y="269205"/>
                    <a:pt x="400056" y="321224"/>
                    <a:pt x="371998" y="360225"/>
                  </a:cubicBezTo>
                  <a:cubicBezTo>
                    <a:pt x="343940" y="399226"/>
                    <a:pt x="305275" y="421223"/>
                    <a:pt x="265377" y="420662"/>
                  </a:cubicBezTo>
                  <a:cubicBezTo>
                    <a:pt x="244838" y="420297"/>
                    <a:pt x="224799" y="414278"/>
                    <a:pt x="207465" y="403267"/>
                  </a:cubicBezTo>
                  <a:lnTo>
                    <a:pt x="195231" y="437441"/>
                  </a:lnTo>
                  <a:cubicBezTo>
                    <a:pt x="182605" y="472794"/>
                    <a:pt x="158083" y="500572"/>
                    <a:pt x="127892" y="513704"/>
                  </a:cubicBezTo>
                  <a:cubicBezTo>
                    <a:pt x="116096" y="518906"/>
                    <a:pt x="103352" y="521599"/>
                    <a:pt x="90463" y="521616"/>
                  </a:cubicBezTo>
                  <a:close/>
                  <a:moveTo>
                    <a:pt x="102133" y="167802"/>
                  </a:moveTo>
                  <a:cubicBezTo>
                    <a:pt x="102939" y="167796"/>
                    <a:pt x="103739" y="167962"/>
                    <a:pt x="104475" y="168292"/>
                  </a:cubicBezTo>
                  <a:cubicBezTo>
                    <a:pt x="105211" y="168621"/>
                    <a:pt x="105867" y="169105"/>
                    <a:pt x="106399" y="169710"/>
                  </a:cubicBezTo>
                  <a:cubicBezTo>
                    <a:pt x="107063" y="170465"/>
                    <a:pt x="107511" y="171384"/>
                    <a:pt x="107701" y="172371"/>
                  </a:cubicBezTo>
                  <a:cubicBezTo>
                    <a:pt x="107887" y="173358"/>
                    <a:pt x="107808" y="174377"/>
                    <a:pt x="107466" y="175322"/>
                  </a:cubicBezTo>
                  <a:lnTo>
                    <a:pt x="16892" y="428967"/>
                  </a:lnTo>
                  <a:cubicBezTo>
                    <a:pt x="12177" y="442209"/>
                    <a:pt x="12673" y="456748"/>
                    <a:pt x="18279" y="469638"/>
                  </a:cubicBezTo>
                  <a:cubicBezTo>
                    <a:pt x="23885" y="482525"/>
                    <a:pt x="34184" y="492806"/>
                    <a:pt x="47085" y="498384"/>
                  </a:cubicBezTo>
                  <a:lnTo>
                    <a:pt x="60777" y="503995"/>
                  </a:lnTo>
                  <a:cubicBezTo>
                    <a:pt x="70665" y="508165"/>
                    <a:pt x="81306" y="510241"/>
                    <a:pt x="92035" y="510095"/>
                  </a:cubicBezTo>
                  <a:cubicBezTo>
                    <a:pt x="102765" y="509949"/>
                    <a:pt x="113352" y="507587"/>
                    <a:pt x="123122" y="503154"/>
                  </a:cubicBezTo>
                  <a:cubicBezTo>
                    <a:pt x="150451" y="491257"/>
                    <a:pt x="172785" y="465836"/>
                    <a:pt x="184345" y="433401"/>
                  </a:cubicBezTo>
                  <a:lnTo>
                    <a:pt x="198935" y="392492"/>
                  </a:lnTo>
                  <a:cubicBezTo>
                    <a:pt x="199227" y="391684"/>
                    <a:pt x="199704" y="390955"/>
                    <a:pt x="200321" y="390361"/>
                  </a:cubicBezTo>
                  <a:cubicBezTo>
                    <a:pt x="200944" y="389766"/>
                    <a:pt x="201690" y="389321"/>
                    <a:pt x="202510" y="389061"/>
                  </a:cubicBezTo>
                  <a:cubicBezTo>
                    <a:pt x="203329" y="388801"/>
                    <a:pt x="204193" y="388732"/>
                    <a:pt x="205046" y="388860"/>
                  </a:cubicBezTo>
                  <a:cubicBezTo>
                    <a:pt x="205894" y="388987"/>
                    <a:pt x="206702" y="389309"/>
                    <a:pt x="207409" y="389798"/>
                  </a:cubicBezTo>
                  <a:cubicBezTo>
                    <a:pt x="224272" y="401953"/>
                    <a:pt x="244423" y="408704"/>
                    <a:pt x="265208" y="409158"/>
                  </a:cubicBezTo>
                  <a:lnTo>
                    <a:pt x="266611" y="409158"/>
                  </a:lnTo>
                  <a:cubicBezTo>
                    <a:pt x="302470" y="409158"/>
                    <a:pt x="336532" y="389406"/>
                    <a:pt x="362682" y="353042"/>
                  </a:cubicBezTo>
                  <a:cubicBezTo>
                    <a:pt x="389618" y="315949"/>
                    <a:pt x="404882" y="266230"/>
                    <a:pt x="405667" y="212752"/>
                  </a:cubicBezTo>
                  <a:cubicBezTo>
                    <a:pt x="407239" y="103662"/>
                    <a:pt x="346801" y="13988"/>
                    <a:pt x="270988" y="12922"/>
                  </a:cubicBezTo>
                  <a:cubicBezTo>
                    <a:pt x="225759" y="11968"/>
                    <a:pt x="182718" y="43898"/>
                    <a:pt x="156175" y="97545"/>
                  </a:cubicBezTo>
                  <a:cubicBezTo>
                    <a:pt x="155540" y="98836"/>
                    <a:pt x="154441" y="99834"/>
                    <a:pt x="153094" y="100336"/>
                  </a:cubicBezTo>
                  <a:cubicBezTo>
                    <a:pt x="151747" y="100837"/>
                    <a:pt x="150260" y="100802"/>
                    <a:pt x="148936" y="100238"/>
                  </a:cubicBezTo>
                  <a:lnTo>
                    <a:pt x="148374" y="99958"/>
                  </a:lnTo>
                  <a:cubicBezTo>
                    <a:pt x="147465" y="99571"/>
                    <a:pt x="146680" y="98953"/>
                    <a:pt x="146090" y="98164"/>
                  </a:cubicBezTo>
                  <a:cubicBezTo>
                    <a:pt x="145496" y="97377"/>
                    <a:pt x="145125" y="96447"/>
                    <a:pt x="145007" y="95469"/>
                  </a:cubicBezTo>
                  <a:cubicBezTo>
                    <a:pt x="142314" y="72181"/>
                    <a:pt x="128453" y="54560"/>
                    <a:pt x="109654" y="50576"/>
                  </a:cubicBezTo>
                  <a:cubicBezTo>
                    <a:pt x="85075" y="45413"/>
                    <a:pt x="59148" y="66008"/>
                    <a:pt x="51348" y="96423"/>
                  </a:cubicBezTo>
                  <a:cubicBezTo>
                    <a:pt x="49007" y="104951"/>
                    <a:pt x="48391" y="113860"/>
                    <a:pt x="49537" y="122629"/>
                  </a:cubicBezTo>
                  <a:cubicBezTo>
                    <a:pt x="50684" y="131398"/>
                    <a:pt x="53570" y="139850"/>
                    <a:pt x="58026" y="147488"/>
                  </a:cubicBezTo>
                  <a:cubicBezTo>
                    <a:pt x="60898" y="152399"/>
                    <a:pt x="64738" y="156676"/>
                    <a:pt x="69309" y="160062"/>
                  </a:cubicBezTo>
                  <a:cubicBezTo>
                    <a:pt x="73881" y="163447"/>
                    <a:pt x="79092" y="165870"/>
                    <a:pt x="84626" y="167186"/>
                  </a:cubicBezTo>
                  <a:cubicBezTo>
                    <a:pt x="90044" y="168363"/>
                    <a:pt x="95649" y="168363"/>
                    <a:pt x="101067" y="167186"/>
                  </a:cubicBezTo>
                  <a:lnTo>
                    <a:pt x="102133" y="167802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123">
              <a:extLst>
                <a:ext uri="{FF2B5EF4-FFF2-40B4-BE49-F238E27FC236}">
                  <a16:creationId xmlns:a16="http://schemas.microsoft.com/office/drawing/2014/main" id="{BD1B6066-4BFF-4862-96D5-CE40CF72A58E}"/>
                </a:ext>
              </a:extLst>
            </p:cNvPr>
            <p:cNvSpPr/>
            <p:nvPr/>
          </p:nvSpPr>
          <p:spPr>
            <a:xfrm>
              <a:off x="3632272" y="5406399"/>
              <a:ext cx="78563" cy="106621"/>
            </a:xfrm>
            <a:custGeom>
              <a:avLst/>
              <a:gdLst>
                <a:gd name="connsiteX0" fmla="*/ 70535 w 78562"/>
                <a:gd name="connsiteY0" fmla="*/ 107096 h 106620"/>
                <a:gd name="connsiteX1" fmla="*/ 67224 w 78562"/>
                <a:gd name="connsiteY1" fmla="*/ 105973 h 106620"/>
                <a:gd name="connsiteX2" fmla="*/ 2746 w 78562"/>
                <a:gd name="connsiteY2" fmla="*/ 9847 h 106620"/>
                <a:gd name="connsiteX3" fmla="*/ 3089 w 78562"/>
                <a:gd name="connsiteY3" fmla="*/ 5548 h 106620"/>
                <a:gd name="connsiteX4" fmla="*/ 6366 w 78562"/>
                <a:gd name="connsiteY4" fmla="*/ 2748 h 106620"/>
                <a:gd name="connsiteX5" fmla="*/ 10664 w 78562"/>
                <a:gd name="connsiteY5" fmla="*/ 3088 h 106620"/>
                <a:gd name="connsiteX6" fmla="*/ 13465 w 78562"/>
                <a:gd name="connsiteY6" fmla="*/ 6367 h 106620"/>
                <a:gd name="connsiteX7" fmla="*/ 73902 w 78562"/>
                <a:gd name="connsiteY7" fmla="*/ 96995 h 106620"/>
                <a:gd name="connsiteX8" fmla="*/ 75378 w 78562"/>
                <a:gd name="connsiteY8" fmla="*/ 98616 h 106620"/>
                <a:gd name="connsiteX9" fmla="*/ 76124 w 78562"/>
                <a:gd name="connsiteY9" fmla="*/ 100679 h 106620"/>
                <a:gd name="connsiteX10" fmla="*/ 76017 w 78562"/>
                <a:gd name="connsiteY10" fmla="*/ 102869 h 106620"/>
                <a:gd name="connsiteX11" fmla="*/ 75080 w 78562"/>
                <a:gd name="connsiteY11" fmla="*/ 104851 h 106620"/>
                <a:gd name="connsiteX12" fmla="*/ 73077 w 78562"/>
                <a:gd name="connsiteY12" fmla="*/ 106516 h 106620"/>
                <a:gd name="connsiteX13" fmla="*/ 70535 w 78562"/>
                <a:gd name="connsiteY13" fmla="*/ 107096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562" h="106620">
                  <a:moveTo>
                    <a:pt x="70535" y="107096"/>
                  </a:moveTo>
                  <a:cubicBezTo>
                    <a:pt x="69339" y="107084"/>
                    <a:pt x="68184" y="106690"/>
                    <a:pt x="67224" y="105973"/>
                  </a:cubicBezTo>
                  <a:cubicBezTo>
                    <a:pt x="39166" y="84874"/>
                    <a:pt x="16102" y="50699"/>
                    <a:pt x="2746" y="9847"/>
                  </a:cubicBezTo>
                  <a:cubicBezTo>
                    <a:pt x="2286" y="8425"/>
                    <a:pt x="2410" y="6879"/>
                    <a:pt x="3089" y="5548"/>
                  </a:cubicBezTo>
                  <a:cubicBezTo>
                    <a:pt x="3768" y="4217"/>
                    <a:pt x="4946" y="3209"/>
                    <a:pt x="6366" y="2748"/>
                  </a:cubicBezTo>
                  <a:cubicBezTo>
                    <a:pt x="7791" y="2286"/>
                    <a:pt x="9334" y="2409"/>
                    <a:pt x="10664" y="3088"/>
                  </a:cubicBezTo>
                  <a:cubicBezTo>
                    <a:pt x="11994" y="3766"/>
                    <a:pt x="13004" y="4946"/>
                    <a:pt x="13465" y="6367"/>
                  </a:cubicBezTo>
                  <a:cubicBezTo>
                    <a:pt x="26035" y="45087"/>
                    <a:pt x="47527" y="77242"/>
                    <a:pt x="73902" y="96995"/>
                  </a:cubicBezTo>
                  <a:cubicBezTo>
                    <a:pt x="74497" y="97433"/>
                    <a:pt x="74996" y="97983"/>
                    <a:pt x="75378" y="98616"/>
                  </a:cubicBezTo>
                  <a:cubicBezTo>
                    <a:pt x="75759" y="99248"/>
                    <a:pt x="76012" y="99949"/>
                    <a:pt x="76124" y="100679"/>
                  </a:cubicBezTo>
                  <a:cubicBezTo>
                    <a:pt x="76231" y="101408"/>
                    <a:pt x="76197" y="102153"/>
                    <a:pt x="76017" y="102869"/>
                  </a:cubicBezTo>
                  <a:cubicBezTo>
                    <a:pt x="75838" y="103585"/>
                    <a:pt x="75518" y="104258"/>
                    <a:pt x="75080" y="104851"/>
                  </a:cubicBezTo>
                  <a:cubicBezTo>
                    <a:pt x="74553" y="105556"/>
                    <a:pt x="73868" y="106126"/>
                    <a:pt x="73077" y="106516"/>
                  </a:cubicBezTo>
                  <a:cubicBezTo>
                    <a:pt x="72286" y="106906"/>
                    <a:pt x="71416" y="107105"/>
                    <a:pt x="70535" y="10709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124">
              <a:extLst>
                <a:ext uri="{FF2B5EF4-FFF2-40B4-BE49-F238E27FC236}">
                  <a16:creationId xmlns:a16="http://schemas.microsoft.com/office/drawing/2014/main" id="{3C0A1D81-DD54-4FAA-AFC9-7AD097F731A5}"/>
                </a:ext>
              </a:extLst>
            </p:cNvPr>
            <p:cNvSpPr/>
            <p:nvPr/>
          </p:nvSpPr>
          <p:spPr>
            <a:xfrm>
              <a:off x="3774743" y="5434030"/>
              <a:ext cx="44893" cy="44893"/>
            </a:xfrm>
            <a:custGeom>
              <a:avLst/>
              <a:gdLst>
                <a:gd name="connsiteX0" fmla="*/ 35919 w 44893"/>
                <a:gd name="connsiteY0" fmla="*/ 46135 h 44893"/>
                <a:gd name="connsiteX1" fmla="*/ 2585 w 44893"/>
                <a:gd name="connsiteY1" fmla="*/ 9210 h 44893"/>
                <a:gd name="connsiteX2" fmla="*/ 2574 w 44893"/>
                <a:gd name="connsiteY2" fmla="*/ 7020 h 44893"/>
                <a:gd name="connsiteX3" fmla="*/ 3405 w 44893"/>
                <a:gd name="connsiteY3" fmla="*/ 4992 h 44893"/>
                <a:gd name="connsiteX4" fmla="*/ 4942 w 44893"/>
                <a:gd name="connsiteY4" fmla="*/ 3436 h 44893"/>
                <a:gd name="connsiteX5" fmla="*/ 6963 w 44893"/>
                <a:gd name="connsiteY5" fmla="*/ 2588 h 44893"/>
                <a:gd name="connsiteX6" fmla="*/ 11166 w 44893"/>
                <a:gd name="connsiteY6" fmla="*/ 3385 h 44893"/>
                <a:gd name="connsiteX7" fmla="*/ 13584 w 44893"/>
                <a:gd name="connsiteY7" fmla="*/ 6909 h 44893"/>
                <a:gd name="connsiteX8" fmla="*/ 37995 w 44893"/>
                <a:gd name="connsiteY8" fmla="*/ 34968 h 44893"/>
                <a:gd name="connsiteX9" fmla="*/ 40189 w 44893"/>
                <a:gd name="connsiteY9" fmla="*/ 35148 h 44893"/>
                <a:gd name="connsiteX10" fmla="*/ 42153 w 44893"/>
                <a:gd name="connsiteY10" fmla="*/ 36154 h 44893"/>
                <a:gd name="connsiteX11" fmla="*/ 43578 w 44893"/>
                <a:gd name="connsiteY11" fmla="*/ 37835 h 44893"/>
                <a:gd name="connsiteX12" fmla="*/ 44252 w 44893"/>
                <a:gd name="connsiteY12" fmla="*/ 39934 h 44893"/>
                <a:gd name="connsiteX13" fmla="*/ 44072 w 44893"/>
                <a:gd name="connsiteY13" fmla="*/ 42130 h 44893"/>
                <a:gd name="connsiteX14" fmla="*/ 43068 w 44893"/>
                <a:gd name="connsiteY14" fmla="*/ 44091 h 44893"/>
                <a:gd name="connsiteX15" fmla="*/ 41384 w 44893"/>
                <a:gd name="connsiteY15" fmla="*/ 45517 h 44893"/>
                <a:gd name="connsiteX16" fmla="*/ 39286 w 44893"/>
                <a:gd name="connsiteY16" fmla="*/ 46191 h 44893"/>
                <a:gd name="connsiteX17" fmla="*/ 35919 w 44893"/>
                <a:gd name="connsiteY17" fmla="*/ 46135 h 4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893" h="44893">
                  <a:moveTo>
                    <a:pt x="35919" y="46135"/>
                  </a:moveTo>
                  <a:cubicBezTo>
                    <a:pt x="10610" y="46135"/>
                    <a:pt x="2922" y="10781"/>
                    <a:pt x="2585" y="9210"/>
                  </a:cubicBezTo>
                  <a:cubicBezTo>
                    <a:pt x="2440" y="8488"/>
                    <a:pt x="2434" y="7744"/>
                    <a:pt x="2574" y="7020"/>
                  </a:cubicBezTo>
                  <a:cubicBezTo>
                    <a:pt x="2715" y="6297"/>
                    <a:pt x="2995" y="5608"/>
                    <a:pt x="3405" y="4992"/>
                  </a:cubicBezTo>
                  <a:cubicBezTo>
                    <a:pt x="3809" y="4377"/>
                    <a:pt x="4331" y="3849"/>
                    <a:pt x="4942" y="3436"/>
                  </a:cubicBezTo>
                  <a:cubicBezTo>
                    <a:pt x="5554" y="3024"/>
                    <a:pt x="6239" y="2735"/>
                    <a:pt x="6963" y="2588"/>
                  </a:cubicBezTo>
                  <a:cubicBezTo>
                    <a:pt x="8416" y="2289"/>
                    <a:pt x="9925" y="2575"/>
                    <a:pt x="11166" y="3385"/>
                  </a:cubicBezTo>
                  <a:cubicBezTo>
                    <a:pt x="12406" y="4194"/>
                    <a:pt x="13276" y="5461"/>
                    <a:pt x="13584" y="6909"/>
                  </a:cubicBezTo>
                  <a:cubicBezTo>
                    <a:pt x="13584" y="7246"/>
                    <a:pt x="20262" y="36988"/>
                    <a:pt x="37995" y="34968"/>
                  </a:cubicBezTo>
                  <a:cubicBezTo>
                    <a:pt x="38736" y="34883"/>
                    <a:pt x="39476" y="34944"/>
                    <a:pt x="40189" y="35148"/>
                  </a:cubicBezTo>
                  <a:cubicBezTo>
                    <a:pt x="40907" y="35351"/>
                    <a:pt x="41575" y="35694"/>
                    <a:pt x="42153" y="36154"/>
                  </a:cubicBezTo>
                  <a:cubicBezTo>
                    <a:pt x="42737" y="36616"/>
                    <a:pt x="43219" y="37187"/>
                    <a:pt x="43578" y="37835"/>
                  </a:cubicBezTo>
                  <a:cubicBezTo>
                    <a:pt x="43938" y="38484"/>
                    <a:pt x="44168" y="39197"/>
                    <a:pt x="44252" y="39934"/>
                  </a:cubicBezTo>
                  <a:cubicBezTo>
                    <a:pt x="44336" y="40671"/>
                    <a:pt x="44280" y="41417"/>
                    <a:pt x="44072" y="42130"/>
                  </a:cubicBezTo>
                  <a:cubicBezTo>
                    <a:pt x="43870" y="42843"/>
                    <a:pt x="43528" y="43510"/>
                    <a:pt x="43068" y="44091"/>
                  </a:cubicBezTo>
                  <a:cubicBezTo>
                    <a:pt x="42608" y="44672"/>
                    <a:pt x="42035" y="45157"/>
                    <a:pt x="41384" y="45517"/>
                  </a:cubicBezTo>
                  <a:cubicBezTo>
                    <a:pt x="40739" y="45877"/>
                    <a:pt x="40026" y="46106"/>
                    <a:pt x="39286" y="46191"/>
                  </a:cubicBezTo>
                  <a:cubicBezTo>
                    <a:pt x="38163" y="46254"/>
                    <a:pt x="37041" y="46235"/>
                    <a:pt x="35919" y="4613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125">
              <a:extLst>
                <a:ext uri="{FF2B5EF4-FFF2-40B4-BE49-F238E27FC236}">
                  <a16:creationId xmlns:a16="http://schemas.microsoft.com/office/drawing/2014/main" id="{587BFDEE-F4E6-4D06-923C-28E2CF7B28CF}"/>
                </a:ext>
              </a:extLst>
            </p:cNvPr>
            <p:cNvSpPr/>
            <p:nvPr/>
          </p:nvSpPr>
          <p:spPr>
            <a:xfrm>
              <a:off x="3867812" y="5326094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126">
              <a:extLst>
                <a:ext uri="{FF2B5EF4-FFF2-40B4-BE49-F238E27FC236}">
                  <a16:creationId xmlns:a16="http://schemas.microsoft.com/office/drawing/2014/main" id="{2EF5EAB5-B1C5-4DD5-914E-4F37AA128C45}"/>
                </a:ext>
              </a:extLst>
            </p:cNvPr>
            <p:cNvSpPr/>
            <p:nvPr/>
          </p:nvSpPr>
          <p:spPr>
            <a:xfrm>
              <a:off x="3728944" y="5265429"/>
              <a:ext cx="106621" cy="134679"/>
            </a:xfrm>
            <a:custGeom>
              <a:avLst/>
              <a:gdLst>
                <a:gd name="connsiteX0" fmla="*/ 49115 w 106620"/>
                <a:gd name="connsiteY0" fmla="*/ 136057 h 134679"/>
                <a:gd name="connsiteX1" fmla="*/ 41202 w 106620"/>
                <a:gd name="connsiteY1" fmla="*/ 135271 h 134679"/>
                <a:gd name="connsiteX2" fmla="*/ 21915 w 106620"/>
                <a:gd name="connsiteY2" fmla="*/ 125605 h 134679"/>
                <a:gd name="connsiteX3" fmla="*/ 9216 w 106620"/>
                <a:gd name="connsiteY3" fmla="*/ 108167 h 134679"/>
                <a:gd name="connsiteX4" fmla="*/ 4278 w 106620"/>
                <a:gd name="connsiteY4" fmla="*/ 59289 h 134679"/>
                <a:gd name="connsiteX5" fmla="*/ 67577 w 106620"/>
                <a:gd name="connsiteY5" fmla="*/ 3173 h 134679"/>
                <a:gd name="connsiteX6" fmla="*/ 104558 w 106620"/>
                <a:gd name="connsiteY6" fmla="*/ 79154 h 134679"/>
                <a:gd name="connsiteX7" fmla="*/ 81213 w 106620"/>
                <a:gd name="connsiteY7" fmla="*/ 122308 h 134679"/>
                <a:gd name="connsiteX8" fmla="*/ 49115 w 106620"/>
                <a:gd name="connsiteY8" fmla="*/ 136057 h 134679"/>
                <a:gd name="connsiteX9" fmla="*/ 59721 w 106620"/>
                <a:gd name="connsiteY9" fmla="*/ 13836 h 134679"/>
                <a:gd name="connsiteX10" fmla="*/ 15277 w 106620"/>
                <a:gd name="connsiteY10" fmla="*/ 61534 h 134679"/>
                <a:gd name="connsiteX11" fmla="*/ 19373 w 106620"/>
                <a:gd name="connsiteY11" fmla="*/ 103397 h 134679"/>
                <a:gd name="connsiteX12" fmla="*/ 28632 w 106620"/>
                <a:gd name="connsiteY12" fmla="*/ 117023 h 134679"/>
                <a:gd name="connsiteX13" fmla="*/ 43419 w 106620"/>
                <a:gd name="connsiteY13" fmla="*/ 124277 h 134679"/>
                <a:gd name="connsiteX14" fmla="*/ 59861 w 106620"/>
                <a:gd name="connsiteY14" fmla="*/ 123256 h 134679"/>
                <a:gd name="connsiteX15" fmla="*/ 73638 w 106620"/>
                <a:gd name="connsiteY15" fmla="*/ 114227 h 134679"/>
                <a:gd name="connsiteX16" fmla="*/ 93559 w 106620"/>
                <a:gd name="connsiteY16" fmla="*/ 77190 h 134679"/>
                <a:gd name="connsiteX17" fmla="*/ 65501 w 106620"/>
                <a:gd name="connsiteY17" fmla="*/ 14396 h 134679"/>
                <a:gd name="connsiteX18" fmla="*/ 59721 w 106620"/>
                <a:gd name="connsiteY18" fmla="*/ 13779 h 134679"/>
                <a:gd name="connsiteX19" fmla="*/ 59721 w 106620"/>
                <a:gd name="connsiteY19" fmla="*/ 13836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6620" h="134679">
                  <a:moveTo>
                    <a:pt x="49115" y="136057"/>
                  </a:moveTo>
                  <a:cubicBezTo>
                    <a:pt x="46460" y="136046"/>
                    <a:pt x="43806" y="135782"/>
                    <a:pt x="41202" y="135271"/>
                  </a:cubicBezTo>
                  <a:cubicBezTo>
                    <a:pt x="34092" y="133635"/>
                    <a:pt x="27482" y="130321"/>
                    <a:pt x="21915" y="125605"/>
                  </a:cubicBezTo>
                  <a:cubicBezTo>
                    <a:pt x="16354" y="120890"/>
                    <a:pt x="11999" y="114910"/>
                    <a:pt x="9216" y="108167"/>
                  </a:cubicBezTo>
                  <a:cubicBezTo>
                    <a:pt x="2448" y="92805"/>
                    <a:pt x="720" y="75694"/>
                    <a:pt x="4278" y="59289"/>
                  </a:cubicBezTo>
                  <a:cubicBezTo>
                    <a:pt x="11573" y="22982"/>
                    <a:pt x="39968" y="-2102"/>
                    <a:pt x="67577" y="3173"/>
                  </a:cubicBezTo>
                  <a:cubicBezTo>
                    <a:pt x="95186" y="8448"/>
                    <a:pt x="111797" y="42791"/>
                    <a:pt x="104558" y="79154"/>
                  </a:cubicBezTo>
                  <a:cubicBezTo>
                    <a:pt x="101522" y="95641"/>
                    <a:pt x="93351" y="110746"/>
                    <a:pt x="81213" y="122308"/>
                  </a:cubicBezTo>
                  <a:cubicBezTo>
                    <a:pt x="72627" y="130764"/>
                    <a:pt x="61163" y="135673"/>
                    <a:pt x="49115" y="136057"/>
                  </a:cubicBezTo>
                  <a:close/>
                  <a:moveTo>
                    <a:pt x="59721" y="13836"/>
                  </a:moveTo>
                  <a:cubicBezTo>
                    <a:pt x="40024" y="13836"/>
                    <a:pt x="20832" y="33869"/>
                    <a:pt x="15277" y="61534"/>
                  </a:cubicBezTo>
                  <a:cubicBezTo>
                    <a:pt x="12207" y="75572"/>
                    <a:pt x="13644" y="90220"/>
                    <a:pt x="19373" y="103397"/>
                  </a:cubicBezTo>
                  <a:cubicBezTo>
                    <a:pt x="21225" y="108666"/>
                    <a:pt x="24412" y="113362"/>
                    <a:pt x="28632" y="117023"/>
                  </a:cubicBezTo>
                  <a:cubicBezTo>
                    <a:pt x="32847" y="120684"/>
                    <a:pt x="37942" y="123185"/>
                    <a:pt x="43419" y="124277"/>
                  </a:cubicBezTo>
                  <a:cubicBezTo>
                    <a:pt x="48896" y="125371"/>
                    <a:pt x="54564" y="125019"/>
                    <a:pt x="59861" y="123256"/>
                  </a:cubicBezTo>
                  <a:cubicBezTo>
                    <a:pt x="65158" y="121494"/>
                    <a:pt x="69906" y="118382"/>
                    <a:pt x="73638" y="114227"/>
                  </a:cubicBezTo>
                  <a:cubicBezTo>
                    <a:pt x="84008" y="104282"/>
                    <a:pt x="90977" y="91323"/>
                    <a:pt x="93559" y="77190"/>
                  </a:cubicBezTo>
                  <a:cubicBezTo>
                    <a:pt x="99563" y="46888"/>
                    <a:pt x="86993" y="18717"/>
                    <a:pt x="65501" y="14396"/>
                  </a:cubicBezTo>
                  <a:cubicBezTo>
                    <a:pt x="63598" y="14015"/>
                    <a:pt x="61662" y="13808"/>
                    <a:pt x="59721" y="13779"/>
                  </a:cubicBezTo>
                  <a:lnTo>
                    <a:pt x="59721" y="13836"/>
                  </a:ln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127">
              <a:extLst>
                <a:ext uri="{FF2B5EF4-FFF2-40B4-BE49-F238E27FC236}">
                  <a16:creationId xmlns:a16="http://schemas.microsoft.com/office/drawing/2014/main" id="{E15FB349-EAE5-4C53-B815-235D841071C3}"/>
                </a:ext>
              </a:extLst>
            </p:cNvPr>
            <p:cNvSpPr/>
            <p:nvPr/>
          </p:nvSpPr>
          <p:spPr>
            <a:xfrm>
              <a:off x="3845247" y="5288807"/>
              <a:ext cx="106621" cy="134679"/>
            </a:xfrm>
            <a:custGeom>
              <a:avLst/>
              <a:gdLst>
                <a:gd name="connsiteX0" fmla="*/ 49028 w 106620"/>
                <a:gd name="connsiteY0" fmla="*/ 135912 h 134679"/>
                <a:gd name="connsiteX1" fmla="*/ 41115 w 106620"/>
                <a:gd name="connsiteY1" fmla="*/ 135126 h 134679"/>
                <a:gd name="connsiteX2" fmla="*/ 4191 w 106620"/>
                <a:gd name="connsiteY2" fmla="*/ 59201 h 134679"/>
                <a:gd name="connsiteX3" fmla="*/ 27535 w 106620"/>
                <a:gd name="connsiteY3" fmla="*/ 15991 h 134679"/>
                <a:gd name="connsiteX4" fmla="*/ 45880 w 106620"/>
                <a:gd name="connsiteY4" fmla="*/ 4500 h 134679"/>
                <a:gd name="connsiteX5" fmla="*/ 67496 w 106620"/>
                <a:gd name="connsiteY5" fmla="*/ 3318 h 134679"/>
                <a:gd name="connsiteX6" fmla="*/ 86979 w 106620"/>
                <a:gd name="connsiteY6" fmla="*/ 12739 h 134679"/>
                <a:gd name="connsiteX7" fmla="*/ 99476 w 106620"/>
                <a:gd name="connsiteY7" fmla="*/ 30413 h 134679"/>
                <a:gd name="connsiteX8" fmla="*/ 104471 w 106620"/>
                <a:gd name="connsiteY8" fmla="*/ 79234 h 134679"/>
                <a:gd name="connsiteX9" fmla="*/ 81126 w 106620"/>
                <a:gd name="connsiteY9" fmla="*/ 122444 h 134679"/>
                <a:gd name="connsiteX10" fmla="*/ 49028 w 106620"/>
                <a:gd name="connsiteY10" fmla="*/ 135912 h 134679"/>
                <a:gd name="connsiteX11" fmla="*/ 59690 w 106620"/>
                <a:gd name="connsiteY11" fmla="*/ 13747 h 134679"/>
                <a:gd name="connsiteX12" fmla="*/ 35111 w 106620"/>
                <a:gd name="connsiteY12" fmla="*/ 24353 h 134679"/>
                <a:gd name="connsiteX13" fmla="*/ 15190 w 106620"/>
                <a:gd name="connsiteY13" fmla="*/ 61389 h 134679"/>
                <a:gd name="connsiteX14" fmla="*/ 43248 w 106620"/>
                <a:gd name="connsiteY14" fmla="*/ 124127 h 134679"/>
                <a:gd name="connsiteX15" fmla="*/ 59589 w 106620"/>
                <a:gd name="connsiteY15" fmla="*/ 122772 h 134679"/>
                <a:gd name="connsiteX16" fmla="*/ 73495 w 106620"/>
                <a:gd name="connsiteY16" fmla="*/ 114083 h 134679"/>
                <a:gd name="connsiteX17" fmla="*/ 93360 w 106620"/>
                <a:gd name="connsiteY17" fmla="*/ 77028 h 134679"/>
                <a:gd name="connsiteX18" fmla="*/ 89263 w 106620"/>
                <a:gd name="connsiteY18" fmla="*/ 35183 h 134679"/>
                <a:gd name="connsiteX19" fmla="*/ 79791 w 106620"/>
                <a:gd name="connsiteY19" fmla="*/ 21829 h 134679"/>
                <a:gd name="connsiteX20" fmla="*/ 65246 w 106620"/>
                <a:gd name="connsiteY20" fmla="*/ 14308 h 134679"/>
                <a:gd name="connsiteX21" fmla="*/ 59690 w 106620"/>
                <a:gd name="connsiteY21" fmla="*/ 13747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620" h="134679">
                  <a:moveTo>
                    <a:pt x="49028" y="135912"/>
                  </a:moveTo>
                  <a:cubicBezTo>
                    <a:pt x="46368" y="135929"/>
                    <a:pt x="43719" y="135666"/>
                    <a:pt x="41115" y="135126"/>
                  </a:cubicBezTo>
                  <a:cubicBezTo>
                    <a:pt x="13506" y="129515"/>
                    <a:pt x="-3104" y="95564"/>
                    <a:pt x="4191" y="59201"/>
                  </a:cubicBezTo>
                  <a:cubicBezTo>
                    <a:pt x="7204" y="42690"/>
                    <a:pt x="15375" y="27561"/>
                    <a:pt x="27535" y="15991"/>
                  </a:cubicBezTo>
                  <a:cubicBezTo>
                    <a:pt x="32580" y="10670"/>
                    <a:pt x="38893" y="6717"/>
                    <a:pt x="45880" y="4500"/>
                  </a:cubicBezTo>
                  <a:cubicBezTo>
                    <a:pt x="52866" y="2283"/>
                    <a:pt x="60307" y="1877"/>
                    <a:pt x="67496" y="3318"/>
                  </a:cubicBezTo>
                  <a:cubicBezTo>
                    <a:pt x="74684" y="4759"/>
                    <a:pt x="81385" y="8000"/>
                    <a:pt x="86979" y="12739"/>
                  </a:cubicBezTo>
                  <a:cubicBezTo>
                    <a:pt x="92574" y="17479"/>
                    <a:pt x="96873" y="23560"/>
                    <a:pt x="99476" y="30413"/>
                  </a:cubicBezTo>
                  <a:cubicBezTo>
                    <a:pt x="106261" y="45750"/>
                    <a:pt x="108006" y="62842"/>
                    <a:pt x="104471" y="79234"/>
                  </a:cubicBezTo>
                  <a:cubicBezTo>
                    <a:pt x="101435" y="95738"/>
                    <a:pt x="93270" y="110860"/>
                    <a:pt x="81126" y="122444"/>
                  </a:cubicBezTo>
                  <a:cubicBezTo>
                    <a:pt x="72496" y="130802"/>
                    <a:pt x="61037" y="135610"/>
                    <a:pt x="49028" y="135912"/>
                  </a:cubicBezTo>
                  <a:close/>
                  <a:moveTo>
                    <a:pt x="59690" y="13747"/>
                  </a:moveTo>
                  <a:cubicBezTo>
                    <a:pt x="50459" y="14073"/>
                    <a:pt x="41682" y="17858"/>
                    <a:pt x="35111" y="24353"/>
                  </a:cubicBezTo>
                  <a:cubicBezTo>
                    <a:pt x="24718" y="34277"/>
                    <a:pt x="17743" y="47246"/>
                    <a:pt x="15190" y="61389"/>
                  </a:cubicBezTo>
                  <a:cubicBezTo>
                    <a:pt x="9129" y="91692"/>
                    <a:pt x="21755" y="119806"/>
                    <a:pt x="43248" y="124127"/>
                  </a:cubicBezTo>
                  <a:cubicBezTo>
                    <a:pt x="48725" y="124984"/>
                    <a:pt x="54331" y="124520"/>
                    <a:pt x="59589" y="122772"/>
                  </a:cubicBezTo>
                  <a:cubicBezTo>
                    <a:pt x="64853" y="121025"/>
                    <a:pt x="69617" y="118046"/>
                    <a:pt x="73495" y="114083"/>
                  </a:cubicBezTo>
                  <a:cubicBezTo>
                    <a:pt x="83640" y="103971"/>
                    <a:pt x="90554" y="91074"/>
                    <a:pt x="93360" y="77028"/>
                  </a:cubicBezTo>
                  <a:cubicBezTo>
                    <a:pt x="96171" y="62981"/>
                    <a:pt x="94740" y="48418"/>
                    <a:pt x="89263" y="35183"/>
                  </a:cubicBezTo>
                  <a:cubicBezTo>
                    <a:pt x="87215" y="30040"/>
                    <a:pt x="83972" y="25460"/>
                    <a:pt x="79791" y="21829"/>
                  </a:cubicBezTo>
                  <a:cubicBezTo>
                    <a:pt x="75610" y="18197"/>
                    <a:pt x="70627" y="15618"/>
                    <a:pt x="65246" y="14308"/>
                  </a:cubicBezTo>
                  <a:cubicBezTo>
                    <a:pt x="63422" y="13929"/>
                    <a:pt x="61559" y="13740"/>
                    <a:pt x="59690" y="13747"/>
                  </a:cubicBez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128">
              <a:extLst>
                <a:ext uri="{FF2B5EF4-FFF2-40B4-BE49-F238E27FC236}">
                  <a16:creationId xmlns:a16="http://schemas.microsoft.com/office/drawing/2014/main" id="{D06A9DB5-D37D-401F-A26A-C70A6C679A52}"/>
                </a:ext>
              </a:extLst>
            </p:cNvPr>
            <p:cNvSpPr/>
            <p:nvPr/>
          </p:nvSpPr>
          <p:spPr>
            <a:xfrm>
              <a:off x="3826182" y="5349439"/>
              <a:ext cx="22447" cy="67340"/>
            </a:xfrm>
            <a:custGeom>
              <a:avLst/>
              <a:gdLst>
                <a:gd name="connsiteX0" fmla="*/ 8105 w 22446"/>
                <a:gd name="connsiteY0" fmla="*/ 69114 h 67339"/>
                <a:gd name="connsiteX1" fmla="*/ 5237 w 22446"/>
                <a:gd name="connsiteY1" fmla="*/ 68334 h 67339"/>
                <a:gd name="connsiteX2" fmla="*/ 3167 w 22446"/>
                <a:gd name="connsiteY2" fmla="*/ 66196 h 67339"/>
                <a:gd name="connsiteX3" fmla="*/ 2504 w 22446"/>
                <a:gd name="connsiteY3" fmla="*/ 64101 h 67339"/>
                <a:gd name="connsiteX4" fmla="*/ 2701 w 22446"/>
                <a:gd name="connsiteY4" fmla="*/ 61914 h 67339"/>
                <a:gd name="connsiteX5" fmla="*/ 3722 w 22446"/>
                <a:gd name="connsiteY5" fmla="*/ 59969 h 67339"/>
                <a:gd name="connsiteX6" fmla="*/ 5411 w 22446"/>
                <a:gd name="connsiteY6" fmla="*/ 58565 h 67339"/>
                <a:gd name="connsiteX7" fmla="*/ 10613 w 22446"/>
                <a:gd name="connsiteY7" fmla="*/ 53677 h 67339"/>
                <a:gd name="connsiteX8" fmla="*/ 12650 w 22446"/>
                <a:gd name="connsiteY8" fmla="*/ 46836 h 67339"/>
                <a:gd name="connsiteX9" fmla="*/ 13997 w 22446"/>
                <a:gd name="connsiteY9" fmla="*/ 7892 h 67339"/>
                <a:gd name="connsiteX10" fmla="*/ 14502 w 22446"/>
                <a:gd name="connsiteY10" fmla="*/ 5759 h 67339"/>
                <a:gd name="connsiteX11" fmla="*/ 15781 w 22446"/>
                <a:gd name="connsiteY11" fmla="*/ 3981 h 67339"/>
                <a:gd name="connsiteX12" fmla="*/ 17645 w 22446"/>
                <a:gd name="connsiteY12" fmla="*/ 2828 h 67339"/>
                <a:gd name="connsiteX13" fmla="*/ 19805 w 22446"/>
                <a:gd name="connsiteY13" fmla="*/ 2476 h 67339"/>
                <a:gd name="connsiteX14" fmla="*/ 21937 w 22446"/>
                <a:gd name="connsiteY14" fmla="*/ 2979 h 67339"/>
                <a:gd name="connsiteX15" fmla="*/ 23716 w 22446"/>
                <a:gd name="connsiteY15" fmla="*/ 4259 h 67339"/>
                <a:gd name="connsiteX16" fmla="*/ 24867 w 22446"/>
                <a:gd name="connsiteY16" fmla="*/ 6122 h 67339"/>
                <a:gd name="connsiteX17" fmla="*/ 25220 w 22446"/>
                <a:gd name="connsiteY17" fmla="*/ 8284 h 67339"/>
                <a:gd name="connsiteX18" fmla="*/ 23930 w 22446"/>
                <a:gd name="connsiteY18" fmla="*/ 47229 h 67339"/>
                <a:gd name="connsiteX19" fmla="*/ 20203 w 22446"/>
                <a:gd name="connsiteY19" fmla="*/ 59569 h 67339"/>
                <a:gd name="connsiteX20" fmla="*/ 10854 w 22446"/>
                <a:gd name="connsiteY20" fmla="*/ 68441 h 67339"/>
                <a:gd name="connsiteX21" fmla="*/ 8105 w 22446"/>
                <a:gd name="connsiteY21" fmla="*/ 69114 h 6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46" h="67339">
                  <a:moveTo>
                    <a:pt x="8105" y="69114"/>
                  </a:moveTo>
                  <a:cubicBezTo>
                    <a:pt x="7095" y="69117"/>
                    <a:pt x="6107" y="68847"/>
                    <a:pt x="5237" y="68334"/>
                  </a:cubicBezTo>
                  <a:cubicBezTo>
                    <a:pt x="4367" y="67820"/>
                    <a:pt x="3649" y="67081"/>
                    <a:pt x="3167" y="66196"/>
                  </a:cubicBezTo>
                  <a:cubicBezTo>
                    <a:pt x="2813" y="65548"/>
                    <a:pt x="2588" y="64836"/>
                    <a:pt x="2504" y="64101"/>
                  </a:cubicBezTo>
                  <a:cubicBezTo>
                    <a:pt x="2426" y="63366"/>
                    <a:pt x="2493" y="62623"/>
                    <a:pt x="2701" y="61914"/>
                  </a:cubicBezTo>
                  <a:cubicBezTo>
                    <a:pt x="2914" y="61204"/>
                    <a:pt x="3256" y="60544"/>
                    <a:pt x="3722" y="59969"/>
                  </a:cubicBezTo>
                  <a:cubicBezTo>
                    <a:pt x="4188" y="59394"/>
                    <a:pt x="4760" y="58916"/>
                    <a:pt x="5411" y="58565"/>
                  </a:cubicBezTo>
                  <a:cubicBezTo>
                    <a:pt x="7549" y="57424"/>
                    <a:pt x="9345" y="55738"/>
                    <a:pt x="10613" y="53677"/>
                  </a:cubicBezTo>
                  <a:cubicBezTo>
                    <a:pt x="11887" y="51617"/>
                    <a:pt x="12588" y="49256"/>
                    <a:pt x="12650" y="46836"/>
                  </a:cubicBezTo>
                  <a:lnTo>
                    <a:pt x="13997" y="7892"/>
                  </a:lnTo>
                  <a:cubicBezTo>
                    <a:pt x="14019" y="7154"/>
                    <a:pt x="14193" y="6430"/>
                    <a:pt x="14502" y="5759"/>
                  </a:cubicBezTo>
                  <a:cubicBezTo>
                    <a:pt x="14805" y="5088"/>
                    <a:pt x="15237" y="4484"/>
                    <a:pt x="15781" y="3981"/>
                  </a:cubicBezTo>
                  <a:cubicBezTo>
                    <a:pt x="16320" y="3478"/>
                    <a:pt x="16954" y="3086"/>
                    <a:pt x="17645" y="2828"/>
                  </a:cubicBezTo>
                  <a:cubicBezTo>
                    <a:pt x="18335" y="2570"/>
                    <a:pt x="19070" y="2450"/>
                    <a:pt x="19805" y="2476"/>
                  </a:cubicBezTo>
                  <a:cubicBezTo>
                    <a:pt x="20540" y="2502"/>
                    <a:pt x="21264" y="2673"/>
                    <a:pt x="21937" y="2979"/>
                  </a:cubicBezTo>
                  <a:cubicBezTo>
                    <a:pt x="22605" y="3285"/>
                    <a:pt x="23211" y="3719"/>
                    <a:pt x="23716" y="4259"/>
                  </a:cubicBezTo>
                  <a:cubicBezTo>
                    <a:pt x="24216" y="4798"/>
                    <a:pt x="24609" y="5431"/>
                    <a:pt x="24867" y="6122"/>
                  </a:cubicBezTo>
                  <a:cubicBezTo>
                    <a:pt x="25125" y="6813"/>
                    <a:pt x="25243" y="7547"/>
                    <a:pt x="25220" y="8284"/>
                  </a:cubicBezTo>
                  <a:lnTo>
                    <a:pt x="23930" y="47229"/>
                  </a:lnTo>
                  <a:cubicBezTo>
                    <a:pt x="23778" y="51596"/>
                    <a:pt x="22499" y="55849"/>
                    <a:pt x="20203" y="59569"/>
                  </a:cubicBezTo>
                  <a:cubicBezTo>
                    <a:pt x="17914" y="63288"/>
                    <a:pt x="14693" y="66346"/>
                    <a:pt x="10854" y="68441"/>
                  </a:cubicBezTo>
                  <a:cubicBezTo>
                    <a:pt x="10013" y="68896"/>
                    <a:pt x="9064" y="69129"/>
                    <a:pt x="8105" y="69114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129">
              <a:extLst>
                <a:ext uri="{FF2B5EF4-FFF2-40B4-BE49-F238E27FC236}">
                  <a16:creationId xmlns:a16="http://schemas.microsoft.com/office/drawing/2014/main" id="{58971074-4728-4776-A1E4-EDA61D1C047B}"/>
                </a:ext>
              </a:extLst>
            </p:cNvPr>
            <p:cNvSpPr/>
            <p:nvPr/>
          </p:nvSpPr>
          <p:spPr>
            <a:xfrm>
              <a:off x="3463506" y="5511145"/>
              <a:ext cx="263746" cy="179572"/>
            </a:xfrm>
            <a:custGeom>
              <a:avLst/>
              <a:gdLst>
                <a:gd name="connsiteX0" fmla="*/ 238880 w 263746"/>
                <a:gd name="connsiteY0" fmla="*/ 56886 h 179572"/>
                <a:gd name="connsiteX1" fmla="*/ 63139 w 263746"/>
                <a:gd name="connsiteY1" fmla="*/ 3893 h 179572"/>
                <a:gd name="connsiteX2" fmla="*/ 21811 w 263746"/>
                <a:gd name="connsiteY2" fmla="*/ 26072 h 179572"/>
                <a:gd name="connsiteX3" fmla="*/ 3893 w 263746"/>
                <a:gd name="connsiteY3" fmla="*/ 85493 h 179572"/>
                <a:gd name="connsiteX4" fmla="*/ 26072 w 263746"/>
                <a:gd name="connsiteY4" fmla="*/ 126823 h 179572"/>
                <a:gd name="connsiteX5" fmla="*/ 201815 w 263746"/>
                <a:gd name="connsiteY5" fmla="*/ 179813 h 179572"/>
                <a:gd name="connsiteX6" fmla="*/ 243139 w 263746"/>
                <a:gd name="connsiteY6" fmla="*/ 157636 h 179572"/>
                <a:gd name="connsiteX7" fmla="*/ 261057 w 263746"/>
                <a:gd name="connsiteY7" fmla="*/ 98215 h 179572"/>
                <a:gd name="connsiteX8" fmla="*/ 238880 w 263746"/>
                <a:gd name="connsiteY8" fmla="*/ 56886 h 17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746" h="179572">
                  <a:moveTo>
                    <a:pt x="238880" y="56886"/>
                  </a:moveTo>
                  <a:lnTo>
                    <a:pt x="63139" y="3893"/>
                  </a:lnTo>
                  <a:cubicBezTo>
                    <a:pt x="45603" y="-1395"/>
                    <a:pt x="27099" y="8535"/>
                    <a:pt x="21811" y="26072"/>
                  </a:cubicBezTo>
                  <a:lnTo>
                    <a:pt x="3893" y="85493"/>
                  </a:lnTo>
                  <a:cubicBezTo>
                    <a:pt x="-1395" y="103029"/>
                    <a:pt x="8536" y="121531"/>
                    <a:pt x="26072" y="126823"/>
                  </a:cubicBezTo>
                  <a:lnTo>
                    <a:pt x="201815" y="179813"/>
                  </a:lnTo>
                  <a:cubicBezTo>
                    <a:pt x="219351" y="185099"/>
                    <a:pt x="237853" y="175172"/>
                    <a:pt x="243139" y="157636"/>
                  </a:cubicBezTo>
                  <a:lnTo>
                    <a:pt x="261057" y="98215"/>
                  </a:lnTo>
                  <a:cubicBezTo>
                    <a:pt x="266349" y="80678"/>
                    <a:pt x="256416" y="62173"/>
                    <a:pt x="238880" y="5688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130">
              <a:extLst>
                <a:ext uri="{FF2B5EF4-FFF2-40B4-BE49-F238E27FC236}">
                  <a16:creationId xmlns:a16="http://schemas.microsoft.com/office/drawing/2014/main" id="{3E7ED79D-8F28-4797-BEAE-CFC53E52F0F4}"/>
                </a:ext>
              </a:extLst>
            </p:cNvPr>
            <p:cNvSpPr/>
            <p:nvPr/>
          </p:nvSpPr>
          <p:spPr>
            <a:xfrm>
              <a:off x="3234694" y="5997045"/>
              <a:ext cx="145902" cy="33670"/>
            </a:xfrm>
            <a:custGeom>
              <a:avLst/>
              <a:gdLst>
                <a:gd name="connsiteX0" fmla="*/ 8519 w 145902"/>
                <a:gd name="connsiteY0" fmla="*/ 34410 h 33669"/>
                <a:gd name="connsiteX1" fmla="*/ 4428 w 145902"/>
                <a:gd name="connsiteY1" fmla="*/ 33063 h 33669"/>
                <a:gd name="connsiteX2" fmla="*/ 2488 w 145902"/>
                <a:gd name="connsiteY2" fmla="*/ 29219 h 33669"/>
                <a:gd name="connsiteX3" fmla="*/ 3834 w 145902"/>
                <a:gd name="connsiteY3" fmla="*/ 25128 h 33669"/>
                <a:gd name="connsiteX4" fmla="*/ 7678 w 145902"/>
                <a:gd name="connsiteY4" fmla="*/ 23187 h 33669"/>
                <a:gd name="connsiteX5" fmla="*/ 141907 w 145902"/>
                <a:gd name="connsiteY5" fmla="*/ 2536 h 33669"/>
                <a:gd name="connsiteX6" fmla="*/ 146122 w 145902"/>
                <a:gd name="connsiteY6" fmla="*/ 3585 h 33669"/>
                <a:gd name="connsiteX7" fmla="*/ 148360 w 145902"/>
                <a:gd name="connsiteY7" fmla="*/ 7306 h 33669"/>
                <a:gd name="connsiteX8" fmla="*/ 147314 w 145902"/>
                <a:gd name="connsiteY8" fmla="*/ 11520 h 33669"/>
                <a:gd name="connsiteX9" fmla="*/ 143593 w 145902"/>
                <a:gd name="connsiteY9" fmla="*/ 13759 h 33669"/>
                <a:gd name="connsiteX10" fmla="*/ 9193 w 145902"/>
                <a:gd name="connsiteY10" fmla="*/ 34129 h 33669"/>
                <a:gd name="connsiteX11" fmla="*/ 8519 w 145902"/>
                <a:gd name="connsiteY11" fmla="*/ 34410 h 33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902" h="33669">
                  <a:moveTo>
                    <a:pt x="8519" y="34410"/>
                  </a:moveTo>
                  <a:cubicBezTo>
                    <a:pt x="7031" y="34522"/>
                    <a:pt x="5559" y="34034"/>
                    <a:pt x="4428" y="33063"/>
                  </a:cubicBezTo>
                  <a:cubicBezTo>
                    <a:pt x="3297" y="32087"/>
                    <a:pt x="2600" y="30706"/>
                    <a:pt x="2488" y="29219"/>
                  </a:cubicBezTo>
                  <a:cubicBezTo>
                    <a:pt x="2377" y="27732"/>
                    <a:pt x="2860" y="26256"/>
                    <a:pt x="3834" y="25128"/>
                  </a:cubicBezTo>
                  <a:cubicBezTo>
                    <a:pt x="4807" y="23995"/>
                    <a:pt x="6190" y="23299"/>
                    <a:pt x="7678" y="23187"/>
                  </a:cubicBezTo>
                  <a:lnTo>
                    <a:pt x="141907" y="2536"/>
                  </a:lnTo>
                  <a:cubicBezTo>
                    <a:pt x="143396" y="2311"/>
                    <a:pt x="144911" y="2687"/>
                    <a:pt x="146122" y="3585"/>
                  </a:cubicBezTo>
                  <a:cubicBezTo>
                    <a:pt x="147332" y="4478"/>
                    <a:pt x="148137" y="5819"/>
                    <a:pt x="148360" y="7306"/>
                  </a:cubicBezTo>
                  <a:cubicBezTo>
                    <a:pt x="148584" y="8793"/>
                    <a:pt x="148208" y="10308"/>
                    <a:pt x="147314" y="11520"/>
                  </a:cubicBezTo>
                  <a:cubicBezTo>
                    <a:pt x="146419" y="12732"/>
                    <a:pt x="145081" y="13535"/>
                    <a:pt x="143593" y="13759"/>
                  </a:cubicBezTo>
                  <a:lnTo>
                    <a:pt x="9193" y="34129"/>
                  </a:lnTo>
                  <a:lnTo>
                    <a:pt x="8519" y="3441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131">
              <a:extLst>
                <a:ext uri="{FF2B5EF4-FFF2-40B4-BE49-F238E27FC236}">
                  <a16:creationId xmlns:a16="http://schemas.microsoft.com/office/drawing/2014/main" id="{0CF818FF-D485-4FDC-8B1B-AB32AA2E70B9}"/>
                </a:ext>
              </a:extLst>
            </p:cNvPr>
            <p:cNvSpPr/>
            <p:nvPr/>
          </p:nvSpPr>
          <p:spPr>
            <a:xfrm>
              <a:off x="3175030" y="5572238"/>
              <a:ext cx="690230" cy="650949"/>
            </a:xfrm>
            <a:custGeom>
              <a:avLst/>
              <a:gdLst>
                <a:gd name="connsiteX0" fmla="*/ 61340 w 690230"/>
                <a:gd name="connsiteY0" fmla="*/ 245689 h 650948"/>
                <a:gd name="connsiteX1" fmla="*/ 213412 w 690230"/>
                <a:gd name="connsiteY1" fmla="*/ 45691 h 650948"/>
                <a:gd name="connsiteX2" fmla="*/ 245899 w 690230"/>
                <a:gd name="connsiteY2" fmla="*/ 17105 h 650948"/>
                <a:gd name="connsiteX3" fmla="*/ 286922 w 690230"/>
                <a:gd name="connsiteY3" fmla="*/ 3329 h 650948"/>
                <a:gd name="connsiteX4" fmla="*/ 330076 w 690230"/>
                <a:gd name="connsiteY4" fmla="*/ 6514 h 650948"/>
                <a:gd name="connsiteX5" fmla="*/ 368631 w 690230"/>
                <a:gd name="connsiteY5" fmla="*/ 26162 h 650948"/>
                <a:gd name="connsiteX6" fmla="*/ 439674 w 690230"/>
                <a:gd name="connsiteY6" fmla="*/ 82279 h 650948"/>
                <a:gd name="connsiteX7" fmla="*/ 470651 w 690230"/>
                <a:gd name="connsiteY7" fmla="*/ 49394 h 650948"/>
                <a:gd name="connsiteX8" fmla="*/ 472053 w 690230"/>
                <a:gd name="connsiteY8" fmla="*/ 49394 h 650948"/>
                <a:gd name="connsiteX9" fmla="*/ 550223 w 690230"/>
                <a:gd name="connsiteY9" fmla="*/ 77385 h 650948"/>
                <a:gd name="connsiteX10" fmla="*/ 592984 w 690230"/>
                <a:gd name="connsiteY10" fmla="*/ 148552 h 650948"/>
                <a:gd name="connsiteX11" fmla="*/ 691187 w 690230"/>
                <a:gd name="connsiteY11" fmla="*/ 653037 h 650948"/>
                <a:gd name="connsiteX12" fmla="*/ 2472 w 690230"/>
                <a:gd name="connsiteY12" fmla="*/ 653037 h 650948"/>
                <a:gd name="connsiteX13" fmla="*/ 61340 w 690230"/>
                <a:gd name="connsiteY13" fmla="*/ 245689 h 65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0230" h="650948">
                  <a:moveTo>
                    <a:pt x="61340" y="245689"/>
                  </a:moveTo>
                  <a:lnTo>
                    <a:pt x="213412" y="45691"/>
                  </a:lnTo>
                  <a:cubicBezTo>
                    <a:pt x="222232" y="34097"/>
                    <a:pt x="233277" y="24378"/>
                    <a:pt x="245899" y="17105"/>
                  </a:cubicBezTo>
                  <a:cubicBezTo>
                    <a:pt x="258520" y="9831"/>
                    <a:pt x="272469" y="5148"/>
                    <a:pt x="286922" y="3329"/>
                  </a:cubicBezTo>
                  <a:cubicBezTo>
                    <a:pt x="301376" y="1511"/>
                    <a:pt x="316046" y="2593"/>
                    <a:pt x="330076" y="6514"/>
                  </a:cubicBezTo>
                  <a:cubicBezTo>
                    <a:pt x="344106" y="10435"/>
                    <a:pt x="357214" y="17116"/>
                    <a:pt x="368631" y="26162"/>
                  </a:cubicBezTo>
                  <a:lnTo>
                    <a:pt x="439674" y="82279"/>
                  </a:lnTo>
                  <a:lnTo>
                    <a:pt x="470651" y="49394"/>
                  </a:lnTo>
                  <a:lnTo>
                    <a:pt x="472053" y="49394"/>
                  </a:lnTo>
                  <a:cubicBezTo>
                    <a:pt x="500561" y="49422"/>
                    <a:pt x="528181" y="59310"/>
                    <a:pt x="550223" y="77385"/>
                  </a:cubicBezTo>
                  <a:cubicBezTo>
                    <a:pt x="572266" y="95460"/>
                    <a:pt x="587372" y="120606"/>
                    <a:pt x="592984" y="148552"/>
                  </a:cubicBezTo>
                  <a:lnTo>
                    <a:pt x="691187" y="653037"/>
                  </a:lnTo>
                  <a:lnTo>
                    <a:pt x="2472" y="653037"/>
                  </a:lnTo>
                  <a:lnTo>
                    <a:pt x="61340" y="245689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132">
              <a:extLst>
                <a:ext uri="{FF2B5EF4-FFF2-40B4-BE49-F238E27FC236}">
                  <a16:creationId xmlns:a16="http://schemas.microsoft.com/office/drawing/2014/main" id="{DB78AC5B-6A41-49A9-B670-65F7F67FD65A}"/>
                </a:ext>
              </a:extLst>
            </p:cNvPr>
            <p:cNvSpPr/>
            <p:nvPr/>
          </p:nvSpPr>
          <p:spPr>
            <a:xfrm>
              <a:off x="3727775" y="5956250"/>
              <a:ext cx="162737" cy="61728"/>
            </a:xfrm>
            <a:custGeom>
              <a:avLst/>
              <a:gdLst>
                <a:gd name="connsiteX0" fmla="*/ 100508 w 162737"/>
                <a:gd name="connsiteY0" fmla="*/ 59262 h 61727"/>
                <a:gd name="connsiteX1" fmla="*/ 117006 w 162737"/>
                <a:gd name="connsiteY1" fmla="*/ 59262 h 61727"/>
                <a:gd name="connsiteX2" fmla="*/ 142971 w 162737"/>
                <a:gd name="connsiteY2" fmla="*/ 51069 h 61727"/>
                <a:gd name="connsiteX3" fmla="*/ 159542 w 162737"/>
                <a:gd name="connsiteY3" fmla="*/ 29464 h 61727"/>
                <a:gd name="connsiteX4" fmla="*/ 160597 w 162737"/>
                <a:gd name="connsiteY4" fmla="*/ 19969 h 61727"/>
                <a:gd name="connsiteX5" fmla="*/ 157146 w 162737"/>
                <a:gd name="connsiteY5" fmla="*/ 11058 h 61727"/>
                <a:gd name="connsiteX6" fmla="*/ 149968 w 162737"/>
                <a:gd name="connsiteY6" fmla="*/ 4751 h 61727"/>
                <a:gd name="connsiteX7" fmla="*/ 140687 w 162737"/>
                <a:gd name="connsiteY7" fmla="*/ 2472 h 61727"/>
                <a:gd name="connsiteX8" fmla="*/ 2472 w 162737"/>
                <a:gd name="connsiteY8" fmla="*/ 2472 h 61727"/>
                <a:gd name="connsiteX9" fmla="*/ 100508 w 162737"/>
                <a:gd name="connsiteY9" fmla="*/ 59262 h 6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737" h="61727">
                  <a:moveTo>
                    <a:pt x="100508" y="59262"/>
                  </a:moveTo>
                  <a:lnTo>
                    <a:pt x="117006" y="59262"/>
                  </a:lnTo>
                  <a:cubicBezTo>
                    <a:pt x="126299" y="59257"/>
                    <a:pt x="135361" y="56400"/>
                    <a:pt x="142971" y="51069"/>
                  </a:cubicBezTo>
                  <a:cubicBezTo>
                    <a:pt x="150580" y="45738"/>
                    <a:pt x="156366" y="38196"/>
                    <a:pt x="159542" y="29464"/>
                  </a:cubicBezTo>
                  <a:cubicBezTo>
                    <a:pt x="160653" y="26428"/>
                    <a:pt x="161018" y="23174"/>
                    <a:pt x="160597" y="19969"/>
                  </a:cubicBezTo>
                  <a:cubicBezTo>
                    <a:pt x="160182" y="16765"/>
                    <a:pt x="158998" y="13707"/>
                    <a:pt x="157146" y="11058"/>
                  </a:cubicBezTo>
                  <a:cubicBezTo>
                    <a:pt x="155294" y="8410"/>
                    <a:pt x="152830" y="6243"/>
                    <a:pt x="149968" y="4751"/>
                  </a:cubicBezTo>
                  <a:cubicBezTo>
                    <a:pt x="147101" y="3258"/>
                    <a:pt x="143919" y="2472"/>
                    <a:pt x="140687" y="2472"/>
                  </a:cubicBezTo>
                  <a:lnTo>
                    <a:pt x="2472" y="2472"/>
                  </a:lnTo>
                  <a:lnTo>
                    <a:pt x="100508" y="59262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133">
              <a:extLst>
                <a:ext uri="{FF2B5EF4-FFF2-40B4-BE49-F238E27FC236}">
                  <a16:creationId xmlns:a16="http://schemas.microsoft.com/office/drawing/2014/main" id="{C5BB6EDE-D321-4AC4-8B3A-000824B1F97F}"/>
                </a:ext>
              </a:extLst>
            </p:cNvPr>
            <p:cNvSpPr/>
            <p:nvPr/>
          </p:nvSpPr>
          <p:spPr>
            <a:xfrm>
              <a:off x="3722163" y="5950639"/>
              <a:ext cx="173960" cy="72951"/>
            </a:xfrm>
            <a:custGeom>
              <a:avLst/>
              <a:gdLst>
                <a:gd name="connsiteX0" fmla="*/ 122617 w 173960"/>
                <a:gd name="connsiteY0" fmla="*/ 70485 h 72951"/>
                <a:gd name="connsiteX1" fmla="*/ 106119 w 173960"/>
                <a:gd name="connsiteY1" fmla="*/ 70485 h 72951"/>
                <a:gd name="connsiteX2" fmla="*/ 102152 w 173960"/>
                <a:gd name="connsiteY2" fmla="*/ 68841 h 72951"/>
                <a:gd name="connsiteX3" fmla="*/ 100508 w 173960"/>
                <a:gd name="connsiteY3" fmla="*/ 64874 h 72951"/>
                <a:gd name="connsiteX4" fmla="*/ 102152 w 173960"/>
                <a:gd name="connsiteY4" fmla="*/ 60906 h 72951"/>
                <a:gd name="connsiteX5" fmla="*/ 106119 w 173960"/>
                <a:gd name="connsiteY5" fmla="*/ 59262 h 72951"/>
                <a:gd name="connsiteX6" fmla="*/ 122617 w 173960"/>
                <a:gd name="connsiteY6" fmla="*/ 59262 h 72951"/>
                <a:gd name="connsiteX7" fmla="*/ 145344 w 173960"/>
                <a:gd name="connsiteY7" fmla="*/ 52068 h 72951"/>
                <a:gd name="connsiteX8" fmla="*/ 159879 w 173960"/>
                <a:gd name="connsiteY8" fmla="*/ 33168 h 72951"/>
                <a:gd name="connsiteX9" fmla="*/ 160670 w 173960"/>
                <a:gd name="connsiteY9" fmla="*/ 26327 h 72951"/>
                <a:gd name="connsiteX10" fmla="*/ 158139 w 173960"/>
                <a:gd name="connsiteY10" fmla="*/ 19925 h 72951"/>
                <a:gd name="connsiteX11" fmla="*/ 152993 w 173960"/>
                <a:gd name="connsiteY11" fmla="*/ 15340 h 72951"/>
                <a:gd name="connsiteX12" fmla="*/ 146298 w 173960"/>
                <a:gd name="connsiteY12" fmla="*/ 13696 h 72951"/>
                <a:gd name="connsiteX13" fmla="*/ 8084 w 173960"/>
                <a:gd name="connsiteY13" fmla="*/ 13696 h 72951"/>
                <a:gd name="connsiteX14" fmla="*/ 4117 w 173960"/>
                <a:gd name="connsiteY14" fmla="*/ 12051 h 72951"/>
                <a:gd name="connsiteX15" fmla="*/ 2472 w 173960"/>
                <a:gd name="connsiteY15" fmla="*/ 8084 h 72951"/>
                <a:gd name="connsiteX16" fmla="*/ 4117 w 173960"/>
                <a:gd name="connsiteY16" fmla="*/ 4117 h 72951"/>
                <a:gd name="connsiteX17" fmla="*/ 8084 w 173960"/>
                <a:gd name="connsiteY17" fmla="*/ 2472 h 72951"/>
                <a:gd name="connsiteX18" fmla="*/ 146298 w 173960"/>
                <a:gd name="connsiteY18" fmla="*/ 2472 h 72951"/>
                <a:gd name="connsiteX19" fmla="*/ 158167 w 173960"/>
                <a:gd name="connsiteY19" fmla="*/ 5385 h 72951"/>
                <a:gd name="connsiteX20" fmla="*/ 167348 w 173960"/>
                <a:gd name="connsiteY20" fmla="*/ 13449 h 72951"/>
                <a:gd name="connsiteX21" fmla="*/ 171770 w 173960"/>
                <a:gd name="connsiteY21" fmla="*/ 24840 h 72951"/>
                <a:gd name="connsiteX22" fmla="*/ 170428 w 173960"/>
                <a:gd name="connsiteY22" fmla="*/ 36984 h 72951"/>
                <a:gd name="connsiteX23" fmla="*/ 151787 w 173960"/>
                <a:gd name="connsiteY23" fmla="*/ 61249 h 72951"/>
                <a:gd name="connsiteX24" fmla="*/ 122617 w 173960"/>
                <a:gd name="connsiteY24" fmla="*/ 70485 h 7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3960" h="72951">
                  <a:moveTo>
                    <a:pt x="122617" y="70485"/>
                  </a:moveTo>
                  <a:lnTo>
                    <a:pt x="106119" y="70485"/>
                  </a:lnTo>
                  <a:cubicBezTo>
                    <a:pt x="104632" y="70485"/>
                    <a:pt x="103207" y="69896"/>
                    <a:pt x="102152" y="68841"/>
                  </a:cubicBezTo>
                  <a:cubicBezTo>
                    <a:pt x="101102" y="67792"/>
                    <a:pt x="100508" y="66361"/>
                    <a:pt x="100508" y="64874"/>
                  </a:cubicBezTo>
                  <a:cubicBezTo>
                    <a:pt x="100508" y="63387"/>
                    <a:pt x="101102" y="61956"/>
                    <a:pt x="102152" y="60906"/>
                  </a:cubicBezTo>
                  <a:cubicBezTo>
                    <a:pt x="103207" y="59851"/>
                    <a:pt x="104632" y="59262"/>
                    <a:pt x="106119" y="59262"/>
                  </a:cubicBezTo>
                  <a:lnTo>
                    <a:pt x="122617" y="59262"/>
                  </a:lnTo>
                  <a:cubicBezTo>
                    <a:pt x="130754" y="59245"/>
                    <a:pt x="138683" y="56731"/>
                    <a:pt x="145344" y="52068"/>
                  </a:cubicBezTo>
                  <a:cubicBezTo>
                    <a:pt x="152006" y="47399"/>
                    <a:pt x="157078" y="40805"/>
                    <a:pt x="159879" y="33168"/>
                  </a:cubicBezTo>
                  <a:cubicBezTo>
                    <a:pt x="160704" y="30991"/>
                    <a:pt x="160973" y="28639"/>
                    <a:pt x="160670" y="26327"/>
                  </a:cubicBezTo>
                  <a:cubicBezTo>
                    <a:pt x="160367" y="24016"/>
                    <a:pt x="159497" y="21816"/>
                    <a:pt x="158139" y="19925"/>
                  </a:cubicBezTo>
                  <a:cubicBezTo>
                    <a:pt x="156826" y="18000"/>
                    <a:pt x="155053" y="16429"/>
                    <a:pt x="152993" y="15340"/>
                  </a:cubicBezTo>
                  <a:cubicBezTo>
                    <a:pt x="150928" y="14257"/>
                    <a:pt x="148627" y="13690"/>
                    <a:pt x="146298" y="13696"/>
                  </a:cubicBezTo>
                  <a:lnTo>
                    <a:pt x="8084" y="13696"/>
                  </a:lnTo>
                  <a:cubicBezTo>
                    <a:pt x="6597" y="13696"/>
                    <a:pt x="5166" y="13107"/>
                    <a:pt x="4117" y="12051"/>
                  </a:cubicBezTo>
                  <a:cubicBezTo>
                    <a:pt x="3062" y="11002"/>
                    <a:pt x="2472" y="9571"/>
                    <a:pt x="2472" y="8084"/>
                  </a:cubicBezTo>
                  <a:cubicBezTo>
                    <a:pt x="2472" y="6597"/>
                    <a:pt x="3062" y="5166"/>
                    <a:pt x="4117" y="4117"/>
                  </a:cubicBezTo>
                  <a:cubicBezTo>
                    <a:pt x="5166" y="3062"/>
                    <a:pt x="6597" y="2472"/>
                    <a:pt x="8084" y="2472"/>
                  </a:cubicBezTo>
                  <a:lnTo>
                    <a:pt x="146298" y="2472"/>
                  </a:lnTo>
                  <a:cubicBezTo>
                    <a:pt x="150429" y="2472"/>
                    <a:pt x="154503" y="3471"/>
                    <a:pt x="158167" y="5385"/>
                  </a:cubicBezTo>
                  <a:cubicBezTo>
                    <a:pt x="161831" y="7293"/>
                    <a:pt x="164980" y="10059"/>
                    <a:pt x="167348" y="13449"/>
                  </a:cubicBezTo>
                  <a:cubicBezTo>
                    <a:pt x="169716" y="16833"/>
                    <a:pt x="171231" y="20744"/>
                    <a:pt x="171770" y="24840"/>
                  </a:cubicBezTo>
                  <a:cubicBezTo>
                    <a:pt x="172303" y="28937"/>
                    <a:pt x="171848" y="33101"/>
                    <a:pt x="170428" y="36984"/>
                  </a:cubicBezTo>
                  <a:cubicBezTo>
                    <a:pt x="166848" y="46787"/>
                    <a:pt x="160339" y="55261"/>
                    <a:pt x="151787" y="61249"/>
                  </a:cubicBezTo>
                  <a:cubicBezTo>
                    <a:pt x="143240" y="67242"/>
                    <a:pt x="133061" y="70463"/>
                    <a:pt x="122617" y="7048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134">
              <a:extLst>
                <a:ext uri="{FF2B5EF4-FFF2-40B4-BE49-F238E27FC236}">
                  <a16:creationId xmlns:a16="http://schemas.microsoft.com/office/drawing/2014/main" id="{AEAAFAC0-EEC9-4FF9-ABCA-6D609D79410A}"/>
                </a:ext>
              </a:extLst>
            </p:cNvPr>
            <p:cNvSpPr/>
            <p:nvPr/>
          </p:nvSpPr>
          <p:spPr>
            <a:xfrm>
              <a:off x="3056300" y="5815455"/>
              <a:ext cx="869802" cy="415260"/>
            </a:xfrm>
            <a:custGeom>
              <a:avLst/>
              <a:gdLst>
                <a:gd name="connsiteX0" fmla="*/ 180068 w 869802"/>
                <a:gd name="connsiteY0" fmla="*/ 2472 h 415260"/>
                <a:gd name="connsiteX1" fmla="*/ 30461 w 869802"/>
                <a:gd name="connsiteY1" fmla="*/ 199160 h 415260"/>
                <a:gd name="connsiteX2" fmla="*/ 165927 w 869802"/>
                <a:gd name="connsiteY2" fmla="*/ 413356 h 415260"/>
                <a:gd name="connsiteX3" fmla="*/ 634217 w 869802"/>
                <a:gd name="connsiteY3" fmla="*/ 315377 h 415260"/>
                <a:gd name="connsiteX4" fmla="*/ 690726 w 869802"/>
                <a:gd name="connsiteY4" fmla="*/ 354658 h 415260"/>
                <a:gd name="connsiteX5" fmla="*/ 721118 w 869802"/>
                <a:gd name="connsiteY5" fmla="*/ 365797 h 415260"/>
                <a:gd name="connsiteX6" fmla="*/ 753015 w 869802"/>
                <a:gd name="connsiteY6" fmla="*/ 360270 h 415260"/>
                <a:gd name="connsiteX7" fmla="*/ 768447 w 869802"/>
                <a:gd name="connsiteY7" fmla="*/ 353143 h 415260"/>
                <a:gd name="connsiteX8" fmla="*/ 799625 w 869802"/>
                <a:gd name="connsiteY8" fmla="*/ 362879 h 415260"/>
                <a:gd name="connsiteX9" fmla="*/ 831129 w 869802"/>
                <a:gd name="connsiteY9" fmla="*/ 354265 h 415260"/>
                <a:gd name="connsiteX10" fmla="*/ 844148 w 869802"/>
                <a:gd name="connsiteY10" fmla="*/ 346241 h 415260"/>
                <a:gd name="connsiteX11" fmla="*/ 829109 w 869802"/>
                <a:gd name="connsiteY11" fmla="*/ 327666 h 415260"/>
                <a:gd name="connsiteX12" fmla="*/ 834159 w 869802"/>
                <a:gd name="connsiteY12" fmla="*/ 327105 h 415260"/>
                <a:gd name="connsiteX13" fmla="*/ 858048 w 869802"/>
                <a:gd name="connsiteY13" fmla="*/ 316853 h 415260"/>
                <a:gd name="connsiteX14" fmla="*/ 872150 w 869802"/>
                <a:gd name="connsiteY14" fmla="*/ 295006 h 415260"/>
                <a:gd name="connsiteX15" fmla="*/ 751668 w 869802"/>
                <a:gd name="connsiteY15" fmla="*/ 174581 h 415260"/>
                <a:gd name="connsiteX16" fmla="*/ 709340 w 869802"/>
                <a:gd name="connsiteY16" fmla="*/ 148324 h 415260"/>
                <a:gd name="connsiteX17" fmla="*/ 659750 w 869802"/>
                <a:gd name="connsiteY17" fmla="*/ 143605 h 415260"/>
                <a:gd name="connsiteX18" fmla="*/ 321030 w 869802"/>
                <a:gd name="connsiteY18" fmla="*/ 189620 h 415260"/>
                <a:gd name="connsiteX19" fmla="*/ 410537 w 869802"/>
                <a:gd name="connsiteY19" fmla="*/ 91585 h 415260"/>
                <a:gd name="connsiteX20" fmla="*/ 180068 w 869802"/>
                <a:gd name="connsiteY20" fmla="*/ 2472 h 41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69802" h="415260">
                  <a:moveTo>
                    <a:pt x="180068" y="2472"/>
                  </a:moveTo>
                  <a:lnTo>
                    <a:pt x="30461" y="199160"/>
                  </a:lnTo>
                  <a:cubicBezTo>
                    <a:pt x="-45183" y="298878"/>
                    <a:pt x="43425" y="439001"/>
                    <a:pt x="165927" y="413356"/>
                  </a:cubicBezTo>
                  <a:lnTo>
                    <a:pt x="634217" y="315377"/>
                  </a:lnTo>
                  <a:lnTo>
                    <a:pt x="690726" y="354658"/>
                  </a:lnTo>
                  <a:cubicBezTo>
                    <a:pt x="699704" y="360971"/>
                    <a:pt x="710187" y="364815"/>
                    <a:pt x="721118" y="365797"/>
                  </a:cubicBezTo>
                  <a:cubicBezTo>
                    <a:pt x="732050" y="366785"/>
                    <a:pt x="743049" y="364877"/>
                    <a:pt x="753015" y="360270"/>
                  </a:cubicBezTo>
                  <a:lnTo>
                    <a:pt x="768447" y="353143"/>
                  </a:lnTo>
                  <a:cubicBezTo>
                    <a:pt x="777695" y="359299"/>
                    <a:pt x="788514" y="362677"/>
                    <a:pt x="799625" y="362879"/>
                  </a:cubicBezTo>
                  <a:cubicBezTo>
                    <a:pt x="810731" y="363075"/>
                    <a:pt x="821668" y="360090"/>
                    <a:pt x="831129" y="354265"/>
                  </a:cubicBezTo>
                  <a:lnTo>
                    <a:pt x="844148" y="346241"/>
                  </a:lnTo>
                  <a:lnTo>
                    <a:pt x="829109" y="327666"/>
                  </a:lnTo>
                  <a:lnTo>
                    <a:pt x="834159" y="327105"/>
                  </a:lnTo>
                  <a:cubicBezTo>
                    <a:pt x="842964" y="326140"/>
                    <a:pt x="851286" y="322571"/>
                    <a:pt x="858048" y="316853"/>
                  </a:cubicBezTo>
                  <a:cubicBezTo>
                    <a:pt x="864815" y="311134"/>
                    <a:pt x="869726" y="303531"/>
                    <a:pt x="872150" y="295006"/>
                  </a:cubicBezTo>
                  <a:lnTo>
                    <a:pt x="751668" y="174581"/>
                  </a:lnTo>
                  <a:cubicBezTo>
                    <a:pt x="739771" y="162684"/>
                    <a:pt x="725282" y="153695"/>
                    <a:pt x="709340" y="148324"/>
                  </a:cubicBezTo>
                  <a:cubicBezTo>
                    <a:pt x="693391" y="142948"/>
                    <a:pt x="676422" y="141332"/>
                    <a:pt x="659750" y="143605"/>
                  </a:cubicBezTo>
                  <a:lnTo>
                    <a:pt x="321030" y="189620"/>
                  </a:lnTo>
                  <a:lnTo>
                    <a:pt x="410537" y="91585"/>
                  </a:lnTo>
                  <a:cubicBezTo>
                    <a:pt x="410537" y="91585"/>
                    <a:pt x="353860" y="2472"/>
                    <a:pt x="180068" y="247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135">
              <a:extLst>
                <a:ext uri="{FF2B5EF4-FFF2-40B4-BE49-F238E27FC236}">
                  <a16:creationId xmlns:a16="http://schemas.microsoft.com/office/drawing/2014/main" id="{5AD3F92A-1EF2-40DA-ACD3-A3285E49ED0B}"/>
                </a:ext>
              </a:extLst>
            </p:cNvPr>
            <p:cNvSpPr/>
            <p:nvPr/>
          </p:nvSpPr>
          <p:spPr>
            <a:xfrm>
              <a:off x="3051338" y="5809557"/>
              <a:ext cx="881025" cy="426484"/>
            </a:xfrm>
            <a:custGeom>
              <a:avLst/>
              <a:gdLst>
                <a:gd name="connsiteX0" fmla="*/ 141708 w 881025"/>
                <a:gd name="connsiteY0" fmla="*/ 427946 h 426483"/>
                <a:gd name="connsiteX1" fmla="*/ 68080 w 881025"/>
                <a:gd name="connsiteY1" fmla="*/ 406049 h 426483"/>
                <a:gd name="connsiteX2" fmla="*/ 16825 w 881025"/>
                <a:gd name="connsiteY2" fmla="*/ 348833 h 426483"/>
                <a:gd name="connsiteX3" fmla="*/ 3127 w 881025"/>
                <a:gd name="connsiteY3" fmla="*/ 273250 h 426483"/>
                <a:gd name="connsiteX4" fmla="*/ 31048 w 881025"/>
                <a:gd name="connsiteY4" fmla="*/ 201685 h 426483"/>
                <a:gd name="connsiteX5" fmla="*/ 180540 w 881025"/>
                <a:gd name="connsiteY5" fmla="*/ 4661 h 426483"/>
                <a:gd name="connsiteX6" fmla="*/ 182530 w 881025"/>
                <a:gd name="connsiteY6" fmla="*/ 3045 h 426483"/>
                <a:gd name="connsiteX7" fmla="*/ 185031 w 881025"/>
                <a:gd name="connsiteY7" fmla="*/ 2473 h 426483"/>
                <a:gd name="connsiteX8" fmla="*/ 420325 w 881025"/>
                <a:gd name="connsiteY8" fmla="*/ 94559 h 426483"/>
                <a:gd name="connsiteX9" fmla="*/ 421193 w 881025"/>
                <a:gd name="connsiteY9" fmla="*/ 98050 h 426483"/>
                <a:gd name="connsiteX10" fmla="*/ 419766 w 881025"/>
                <a:gd name="connsiteY10" fmla="*/ 101349 h 426483"/>
                <a:gd name="connsiteX11" fmla="*/ 340696 w 881025"/>
                <a:gd name="connsiteY11" fmla="*/ 187937 h 426483"/>
                <a:gd name="connsiteX12" fmla="*/ 664039 w 881025"/>
                <a:gd name="connsiteY12" fmla="*/ 143998 h 426483"/>
                <a:gd name="connsiteX13" fmla="*/ 716171 w 881025"/>
                <a:gd name="connsiteY13" fmla="*/ 149020 h 426483"/>
                <a:gd name="connsiteX14" fmla="*/ 760727 w 881025"/>
                <a:gd name="connsiteY14" fmla="*/ 176545 h 426483"/>
                <a:gd name="connsiteX15" fmla="*/ 881209 w 881025"/>
                <a:gd name="connsiteY15" fmla="*/ 296971 h 426483"/>
                <a:gd name="connsiteX16" fmla="*/ 882690 w 881025"/>
                <a:gd name="connsiteY16" fmla="*/ 299586 h 426483"/>
                <a:gd name="connsiteX17" fmla="*/ 882611 w 881025"/>
                <a:gd name="connsiteY17" fmla="*/ 302582 h 426483"/>
                <a:gd name="connsiteX18" fmla="*/ 868661 w 881025"/>
                <a:gd name="connsiteY18" fmla="*/ 325534 h 426483"/>
                <a:gd name="connsiteX19" fmla="*/ 844845 w 881025"/>
                <a:gd name="connsiteY19" fmla="*/ 337936 h 426483"/>
                <a:gd name="connsiteX20" fmla="*/ 853599 w 881025"/>
                <a:gd name="connsiteY20" fmla="*/ 348766 h 426483"/>
                <a:gd name="connsiteX21" fmla="*/ 854677 w 881025"/>
                <a:gd name="connsiteY21" fmla="*/ 350887 h 426483"/>
                <a:gd name="connsiteX22" fmla="*/ 854778 w 881025"/>
                <a:gd name="connsiteY22" fmla="*/ 353255 h 426483"/>
                <a:gd name="connsiteX23" fmla="*/ 853897 w 881025"/>
                <a:gd name="connsiteY23" fmla="*/ 355444 h 426483"/>
                <a:gd name="connsiteX24" fmla="*/ 852196 w 881025"/>
                <a:gd name="connsiteY24" fmla="*/ 357071 h 426483"/>
                <a:gd name="connsiteX25" fmla="*/ 839121 w 881025"/>
                <a:gd name="connsiteY25" fmla="*/ 365096 h 426483"/>
                <a:gd name="connsiteX26" fmla="*/ 806187 w 881025"/>
                <a:gd name="connsiteY26" fmla="*/ 374518 h 426483"/>
                <a:gd name="connsiteX27" fmla="*/ 773129 w 881025"/>
                <a:gd name="connsiteY27" fmla="*/ 365545 h 426483"/>
                <a:gd name="connsiteX28" fmla="*/ 760446 w 881025"/>
                <a:gd name="connsiteY28" fmla="*/ 371437 h 426483"/>
                <a:gd name="connsiteX29" fmla="*/ 725694 w 881025"/>
                <a:gd name="connsiteY29" fmla="*/ 377486 h 426483"/>
                <a:gd name="connsiteX30" fmla="*/ 692546 w 881025"/>
                <a:gd name="connsiteY30" fmla="*/ 365433 h 426483"/>
                <a:gd name="connsiteX31" fmla="*/ 638057 w 881025"/>
                <a:gd name="connsiteY31" fmla="*/ 327330 h 426483"/>
                <a:gd name="connsiteX32" fmla="*/ 172293 w 881025"/>
                <a:gd name="connsiteY32" fmla="*/ 424804 h 426483"/>
                <a:gd name="connsiteX33" fmla="*/ 141708 w 881025"/>
                <a:gd name="connsiteY33" fmla="*/ 427946 h 426483"/>
                <a:gd name="connsiteX34" fmla="*/ 187779 w 881025"/>
                <a:gd name="connsiteY34" fmla="*/ 13696 h 426483"/>
                <a:gd name="connsiteX35" fmla="*/ 39970 w 881025"/>
                <a:gd name="connsiteY35" fmla="*/ 208475 h 426483"/>
                <a:gd name="connsiteX36" fmla="*/ 13630 w 881025"/>
                <a:gd name="connsiteY36" fmla="*/ 281432 h 426483"/>
                <a:gd name="connsiteX37" fmla="*/ 33660 w 881025"/>
                <a:gd name="connsiteY37" fmla="*/ 356364 h 426483"/>
                <a:gd name="connsiteX38" fmla="*/ 92886 w 881025"/>
                <a:gd name="connsiteY38" fmla="*/ 406448 h 426483"/>
                <a:gd name="connsiteX39" fmla="*/ 170103 w 881025"/>
                <a:gd name="connsiteY39" fmla="*/ 413749 h 426483"/>
                <a:gd name="connsiteX40" fmla="*/ 638450 w 881025"/>
                <a:gd name="connsiteY40" fmla="*/ 315775 h 426483"/>
                <a:gd name="connsiteX41" fmla="*/ 640733 w 881025"/>
                <a:gd name="connsiteY41" fmla="*/ 315764 h 426483"/>
                <a:gd name="connsiteX42" fmla="*/ 642827 w 881025"/>
                <a:gd name="connsiteY42" fmla="*/ 316667 h 426483"/>
                <a:gd name="connsiteX43" fmla="*/ 699280 w 881025"/>
                <a:gd name="connsiteY43" fmla="*/ 355949 h 426483"/>
                <a:gd name="connsiteX44" fmla="*/ 726951 w 881025"/>
                <a:gd name="connsiteY44" fmla="*/ 365999 h 426483"/>
                <a:gd name="connsiteX45" fmla="*/ 755957 w 881025"/>
                <a:gd name="connsiteY45" fmla="*/ 360943 h 426483"/>
                <a:gd name="connsiteX46" fmla="*/ 771445 w 881025"/>
                <a:gd name="connsiteY46" fmla="*/ 353760 h 426483"/>
                <a:gd name="connsiteX47" fmla="*/ 774301 w 881025"/>
                <a:gd name="connsiteY47" fmla="*/ 353205 h 426483"/>
                <a:gd name="connsiteX48" fmla="*/ 777057 w 881025"/>
                <a:gd name="connsiteY48" fmla="*/ 354153 h 426483"/>
                <a:gd name="connsiteX49" fmla="*/ 805210 w 881025"/>
                <a:gd name="connsiteY49" fmla="*/ 362963 h 426483"/>
                <a:gd name="connsiteX50" fmla="*/ 833678 w 881025"/>
                <a:gd name="connsiteY50" fmla="*/ 355219 h 426483"/>
                <a:gd name="connsiteX51" fmla="*/ 841254 w 881025"/>
                <a:gd name="connsiteY51" fmla="*/ 350506 h 426483"/>
                <a:gd name="connsiteX52" fmla="*/ 830030 w 881025"/>
                <a:gd name="connsiteY52" fmla="*/ 336925 h 426483"/>
                <a:gd name="connsiteX53" fmla="*/ 828846 w 881025"/>
                <a:gd name="connsiteY53" fmla="*/ 334237 h 426483"/>
                <a:gd name="connsiteX54" fmla="*/ 829189 w 881025"/>
                <a:gd name="connsiteY54" fmla="*/ 331314 h 426483"/>
                <a:gd name="connsiteX55" fmla="*/ 830996 w 881025"/>
                <a:gd name="connsiteY55" fmla="*/ 328985 h 426483"/>
                <a:gd name="connsiteX56" fmla="*/ 833734 w 881025"/>
                <a:gd name="connsiteY56" fmla="*/ 327891 h 426483"/>
                <a:gd name="connsiteX57" fmla="*/ 838785 w 881025"/>
                <a:gd name="connsiteY57" fmla="*/ 327330 h 426483"/>
                <a:gd name="connsiteX58" fmla="*/ 858437 w 881025"/>
                <a:gd name="connsiteY58" fmla="*/ 319378 h 426483"/>
                <a:gd name="connsiteX59" fmla="*/ 870995 w 881025"/>
                <a:gd name="connsiteY59" fmla="*/ 302302 h 426483"/>
                <a:gd name="connsiteX60" fmla="*/ 753151 w 881025"/>
                <a:gd name="connsiteY60" fmla="*/ 184458 h 426483"/>
                <a:gd name="connsiteX61" fmla="*/ 712972 w 881025"/>
                <a:gd name="connsiteY61" fmla="*/ 159609 h 426483"/>
                <a:gd name="connsiteX62" fmla="*/ 665947 w 881025"/>
                <a:gd name="connsiteY62" fmla="*/ 155053 h 426483"/>
                <a:gd name="connsiteX63" fmla="*/ 327284 w 881025"/>
                <a:gd name="connsiteY63" fmla="*/ 201068 h 426483"/>
                <a:gd name="connsiteX64" fmla="*/ 324028 w 881025"/>
                <a:gd name="connsiteY64" fmla="*/ 200479 h 426483"/>
                <a:gd name="connsiteX65" fmla="*/ 321672 w 881025"/>
                <a:gd name="connsiteY65" fmla="*/ 198150 h 426483"/>
                <a:gd name="connsiteX66" fmla="*/ 321055 w 881025"/>
                <a:gd name="connsiteY66" fmla="*/ 194828 h 426483"/>
                <a:gd name="connsiteX67" fmla="*/ 322458 w 881025"/>
                <a:gd name="connsiteY67" fmla="*/ 191753 h 426483"/>
                <a:gd name="connsiteX68" fmla="*/ 408877 w 881025"/>
                <a:gd name="connsiteY68" fmla="*/ 97028 h 426483"/>
                <a:gd name="connsiteX69" fmla="*/ 362356 w 881025"/>
                <a:gd name="connsiteY69" fmla="*/ 57074 h 426483"/>
                <a:gd name="connsiteX70" fmla="*/ 187779 w 881025"/>
                <a:gd name="connsiteY70" fmla="*/ 13976 h 426483"/>
                <a:gd name="connsiteX71" fmla="*/ 187779 w 881025"/>
                <a:gd name="connsiteY71" fmla="*/ 13696 h 42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881025" h="426483">
                  <a:moveTo>
                    <a:pt x="141708" y="427946"/>
                  </a:moveTo>
                  <a:cubicBezTo>
                    <a:pt x="115613" y="427598"/>
                    <a:pt x="90127" y="420017"/>
                    <a:pt x="68080" y="406049"/>
                  </a:cubicBezTo>
                  <a:cubicBezTo>
                    <a:pt x="46034" y="392088"/>
                    <a:pt x="28291" y="372279"/>
                    <a:pt x="16825" y="348833"/>
                  </a:cubicBezTo>
                  <a:cubicBezTo>
                    <a:pt x="5358" y="325394"/>
                    <a:pt x="616" y="299227"/>
                    <a:pt x="3127" y="273250"/>
                  </a:cubicBezTo>
                  <a:cubicBezTo>
                    <a:pt x="5638" y="247274"/>
                    <a:pt x="15304" y="222504"/>
                    <a:pt x="31048" y="201685"/>
                  </a:cubicBezTo>
                  <a:lnTo>
                    <a:pt x="180540" y="4661"/>
                  </a:lnTo>
                  <a:cubicBezTo>
                    <a:pt x="181069" y="3977"/>
                    <a:pt x="181751" y="3421"/>
                    <a:pt x="182530" y="3045"/>
                  </a:cubicBezTo>
                  <a:cubicBezTo>
                    <a:pt x="183308" y="2663"/>
                    <a:pt x="184165" y="2467"/>
                    <a:pt x="185031" y="2473"/>
                  </a:cubicBezTo>
                  <a:cubicBezTo>
                    <a:pt x="359889" y="2473"/>
                    <a:pt x="417968" y="90800"/>
                    <a:pt x="420325" y="94559"/>
                  </a:cubicBezTo>
                  <a:cubicBezTo>
                    <a:pt x="420989" y="95597"/>
                    <a:pt x="421295" y="96826"/>
                    <a:pt x="421193" y="98050"/>
                  </a:cubicBezTo>
                  <a:cubicBezTo>
                    <a:pt x="421092" y="99279"/>
                    <a:pt x="420592" y="100440"/>
                    <a:pt x="419766" y="101349"/>
                  </a:cubicBezTo>
                  <a:lnTo>
                    <a:pt x="340696" y="187937"/>
                  </a:lnTo>
                  <a:lnTo>
                    <a:pt x="664039" y="143998"/>
                  </a:lnTo>
                  <a:cubicBezTo>
                    <a:pt x="681569" y="141658"/>
                    <a:pt x="699409" y="143375"/>
                    <a:pt x="716171" y="149020"/>
                  </a:cubicBezTo>
                  <a:cubicBezTo>
                    <a:pt x="732932" y="154660"/>
                    <a:pt x="748179" y="164082"/>
                    <a:pt x="760727" y="176545"/>
                  </a:cubicBezTo>
                  <a:lnTo>
                    <a:pt x="881209" y="296971"/>
                  </a:lnTo>
                  <a:cubicBezTo>
                    <a:pt x="881932" y="297695"/>
                    <a:pt x="882443" y="298598"/>
                    <a:pt x="882690" y="299586"/>
                  </a:cubicBezTo>
                  <a:cubicBezTo>
                    <a:pt x="882937" y="300573"/>
                    <a:pt x="882909" y="301612"/>
                    <a:pt x="882611" y="302582"/>
                  </a:cubicBezTo>
                  <a:cubicBezTo>
                    <a:pt x="880148" y="311364"/>
                    <a:pt x="875322" y="319299"/>
                    <a:pt x="868661" y="325534"/>
                  </a:cubicBezTo>
                  <a:cubicBezTo>
                    <a:pt x="862006" y="331763"/>
                    <a:pt x="853768" y="336056"/>
                    <a:pt x="844845" y="337936"/>
                  </a:cubicBezTo>
                  <a:lnTo>
                    <a:pt x="853599" y="348766"/>
                  </a:lnTo>
                  <a:cubicBezTo>
                    <a:pt x="854104" y="349389"/>
                    <a:pt x="854469" y="350113"/>
                    <a:pt x="854677" y="350887"/>
                  </a:cubicBezTo>
                  <a:cubicBezTo>
                    <a:pt x="854879" y="351662"/>
                    <a:pt x="854912" y="352470"/>
                    <a:pt x="854778" y="353255"/>
                  </a:cubicBezTo>
                  <a:cubicBezTo>
                    <a:pt x="854643" y="354041"/>
                    <a:pt x="854340" y="354787"/>
                    <a:pt x="853897" y="355444"/>
                  </a:cubicBezTo>
                  <a:cubicBezTo>
                    <a:pt x="853453" y="356100"/>
                    <a:pt x="852870" y="356656"/>
                    <a:pt x="852196" y="357071"/>
                  </a:cubicBezTo>
                  <a:lnTo>
                    <a:pt x="839121" y="365096"/>
                  </a:lnTo>
                  <a:cubicBezTo>
                    <a:pt x="829211" y="371179"/>
                    <a:pt x="817820" y="374439"/>
                    <a:pt x="806187" y="374518"/>
                  </a:cubicBezTo>
                  <a:cubicBezTo>
                    <a:pt x="794554" y="374596"/>
                    <a:pt x="783123" y="371493"/>
                    <a:pt x="773129" y="365545"/>
                  </a:cubicBezTo>
                  <a:lnTo>
                    <a:pt x="760446" y="371437"/>
                  </a:lnTo>
                  <a:cubicBezTo>
                    <a:pt x="749593" y="376459"/>
                    <a:pt x="737607" y="378541"/>
                    <a:pt x="725694" y="377486"/>
                  </a:cubicBezTo>
                  <a:cubicBezTo>
                    <a:pt x="713780" y="376437"/>
                    <a:pt x="702355" y="372279"/>
                    <a:pt x="692546" y="365433"/>
                  </a:cubicBezTo>
                  <a:lnTo>
                    <a:pt x="638057" y="327330"/>
                  </a:lnTo>
                  <a:lnTo>
                    <a:pt x="172293" y="424804"/>
                  </a:lnTo>
                  <a:cubicBezTo>
                    <a:pt x="162233" y="426902"/>
                    <a:pt x="151983" y="427957"/>
                    <a:pt x="141708" y="427946"/>
                  </a:cubicBezTo>
                  <a:close/>
                  <a:moveTo>
                    <a:pt x="187779" y="13696"/>
                  </a:moveTo>
                  <a:lnTo>
                    <a:pt x="39970" y="208475"/>
                  </a:lnTo>
                  <a:cubicBezTo>
                    <a:pt x="23950" y="229536"/>
                    <a:pt x="14758" y="254996"/>
                    <a:pt x="13630" y="281432"/>
                  </a:cubicBezTo>
                  <a:cubicBezTo>
                    <a:pt x="12502" y="307868"/>
                    <a:pt x="19492" y="334019"/>
                    <a:pt x="33660" y="356364"/>
                  </a:cubicBezTo>
                  <a:cubicBezTo>
                    <a:pt x="47827" y="378710"/>
                    <a:pt x="68495" y="396190"/>
                    <a:pt x="92886" y="406448"/>
                  </a:cubicBezTo>
                  <a:cubicBezTo>
                    <a:pt x="117276" y="416706"/>
                    <a:pt x="144222" y="419254"/>
                    <a:pt x="170103" y="413749"/>
                  </a:cubicBezTo>
                  <a:lnTo>
                    <a:pt x="638450" y="315775"/>
                  </a:lnTo>
                  <a:cubicBezTo>
                    <a:pt x="639201" y="315612"/>
                    <a:pt x="639981" y="315612"/>
                    <a:pt x="640733" y="315764"/>
                  </a:cubicBezTo>
                  <a:cubicBezTo>
                    <a:pt x="641485" y="315921"/>
                    <a:pt x="642198" y="316230"/>
                    <a:pt x="642827" y="316667"/>
                  </a:cubicBezTo>
                  <a:lnTo>
                    <a:pt x="699280" y="355949"/>
                  </a:lnTo>
                  <a:cubicBezTo>
                    <a:pt x="707467" y="361656"/>
                    <a:pt x="717012" y="365124"/>
                    <a:pt x="726951" y="365999"/>
                  </a:cubicBezTo>
                  <a:cubicBezTo>
                    <a:pt x="736894" y="366875"/>
                    <a:pt x="746894" y="365135"/>
                    <a:pt x="755957" y="360943"/>
                  </a:cubicBezTo>
                  <a:lnTo>
                    <a:pt x="771445" y="353760"/>
                  </a:lnTo>
                  <a:cubicBezTo>
                    <a:pt x="772332" y="353328"/>
                    <a:pt x="773319" y="353137"/>
                    <a:pt x="774301" y="353205"/>
                  </a:cubicBezTo>
                  <a:cubicBezTo>
                    <a:pt x="775289" y="353272"/>
                    <a:pt x="776237" y="353603"/>
                    <a:pt x="777057" y="354153"/>
                  </a:cubicBezTo>
                  <a:cubicBezTo>
                    <a:pt x="785412" y="359720"/>
                    <a:pt x="795177" y="362773"/>
                    <a:pt x="805210" y="362963"/>
                  </a:cubicBezTo>
                  <a:cubicBezTo>
                    <a:pt x="815244" y="363154"/>
                    <a:pt x="825120" y="360466"/>
                    <a:pt x="833678" y="355219"/>
                  </a:cubicBezTo>
                  <a:lnTo>
                    <a:pt x="841254" y="350506"/>
                  </a:lnTo>
                  <a:lnTo>
                    <a:pt x="830030" y="336925"/>
                  </a:lnTo>
                  <a:cubicBezTo>
                    <a:pt x="829408" y="336151"/>
                    <a:pt x="828998" y="335225"/>
                    <a:pt x="828846" y="334237"/>
                  </a:cubicBezTo>
                  <a:cubicBezTo>
                    <a:pt x="828700" y="333250"/>
                    <a:pt x="828818" y="332240"/>
                    <a:pt x="829189" y="331314"/>
                  </a:cubicBezTo>
                  <a:cubicBezTo>
                    <a:pt x="829576" y="330394"/>
                    <a:pt x="830199" y="329585"/>
                    <a:pt x="830996" y="328985"/>
                  </a:cubicBezTo>
                  <a:cubicBezTo>
                    <a:pt x="831793" y="328385"/>
                    <a:pt x="832741" y="328009"/>
                    <a:pt x="833734" y="327891"/>
                  </a:cubicBezTo>
                  <a:lnTo>
                    <a:pt x="838785" y="327330"/>
                  </a:lnTo>
                  <a:cubicBezTo>
                    <a:pt x="845945" y="326555"/>
                    <a:pt x="852746" y="323800"/>
                    <a:pt x="858437" y="319378"/>
                  </a:cubicBezTo>
                  <a:cubicBezTo>
                    <a:pt x="864121" y="314962"/>
                    <a:pt x="868470" y="309053"/>
                    <a:pt x="870995" y="302302"/>
                  </a:cubicBezTo>
                  <a:lnTo>
                    <a:pt x="753151" y="184458"/>
                  </a:lnTo>
                  <a:cubicBezTo>
                    <a:pt x="741838" y="173212"/>
                    <a:pt x="728090" y="164710"/>
                    <a:pt x="712972" y="159609"/>
                  </a:cubicBezTo>
                  <a:cubicBezTo>
                    <a:pt x="697849" y="154514"/>
                    <a:pt x="681760" y="152954"/>
                    <a:pt x="665947" y="155053"/>
                  </a:cubicBezTo>
                  <a:lnTo>
                    <a:pt x="327284" y="201068"/>
                  </a:lnTo>
                  <a:cubicBezTo>
                    <a:pt x="326163" y="201203"/>
                    <a:pt x="325029" y="201001"/>
                    <a:pt x="324028" y="200479"/>
                  </a:cubicBezTo>
                  <a:cubicBezTo>
                    <a:pt x="323027" y="199957"/>
                    <a:pt x="322206" y="199149"/>
                    <a:pt x="321672" y="198150"/>
                  </a:cubicBezTo>
                  <a:cubicBezTo>
                    <a:pt x="321129" y="197134"/>
                    <a:pt x="320915" y="195973"/>
                    <a:pt x="321055" y="194828"/>
                  </a:cubicBezTo>
                  <a:cubicBezTo>
                    <a:pt x="321196" y="193683"/>
                    <a:pt x="321686" y="192611"/>
                    <a:pt x="322458" y="191753"/>
                  </a:cubicBezTo>
                  <a:lnTo>
                    <a:pt x="408877" y="97028"/>
                  </a:lnTo>
                  <a:cubicBezTo>
                    <a:pt x="395819" y="81103"/>
                    <a:pt x="380075" y="67579"/>
                    <a:pt x="362356" y="57074"/>
                  </a:cubicBezTo>
                  <a:cubicBezTo>
                    <a:pt x="330089" y="37545"/>
                    <a:pt x="274254" y="13976"/>
                    <a:pt x="187779" y="13976"/>
                  </a:cubicBezTo>
                  <a:lnTo>
                    <a:pt x="187779" y="13696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136">
              <a:extLst>
                <a:ext uri="{FF2B5EF4-FFF2-40B4-BE49-F238E27FC236}">
                  <a16:creationId xmlns:a16="http://schemas.microsoft.com/office/drawing/2014/main" id="{520A6FFC-D206-4146-920D-D8819E10A6EC}"/>
                </a:ext>
              </a:extLst>
            </p:cNvPr>
            <p:cNvSpPr/>
            <p:nvPr/>
          </p:nvSpPr>
          <p:spPr>
            <a:xfrm>
              <a:off x="3728988" y="6083171"/>
              <a:ext cx="101009" cy="89786"/>
            </a:xfrm>
            <a:custGeom>
              <a:avLst/>
              <a:gdLst>
                <a:gd name="connsiteX0" fmla="*/ 95872 w 101009"/>
                <a:gd name="connsiteY0" fmla="*/ 91151 h 89786"/>
                <a:gd name="connsiteX1" fmla="*/ 92168 w 101009"/>
                <a:gd name="connsiteY1" fmla="*/ 89748 h 89786"/>
                <a:gd name="connsiteX2" fmla="*/ 4402 w 101009"/>
                <a:gd name="connsiteY2" fmla="*/ 12307 h 89786"/>
                <a:gd name="connsiteX3" fmla="*/ 3055 w 101009"/>
                <a:gd name="connsiteY3" fmla="*/ 10562 h 89786"/>
                <a:gd name="connsiteX4" fmla="*/ 2483 w 101009"/>
                <a:gd name="connsiteY4" fmla="*/ 8430 h 89786"/>
                <a:gd name="connsiteX5" fmla="*/ 2780 w 101009"/>
                <a:gd name="connsiteY5" fmla="*/ 6241 h 89786"/>
                <a:gd name="connsiteX6" fmla="*/ 3897 w 101009"/>
                <a:gd name="connsiteY6" fmla="*/ 4339 h 89786"/>
                <a:gd name="connsiteX7" fmla="*/ 7763 w 101009"/>
                <a:gd name="connsiteY7" fmla="*/ 2482 h 89786"/>
                <a:gd name="connsiteX8" fmla="*/ 11809 w 101009"/>
                <a:gd name="connsiteY8" fmla="*/ 3890 h 89786"/>
                <a:gd name="connsiteX9" fmla="*/ 99575 w 101009"/>
                <a:gd name="connsiteY9" fmla="*/ 81330 h 89786"/>
                <a:gd name="connsiteX10" fmla="*/ 101466 w 101009"/>
                <a:gd name="connsiteY10" fmla="*/ 85186 h 89786"/>
                <a:gd name="connsiteX11" fmla="*/ 100080 w 101009"/>
                <a:gd name="connsiteY11" fmla="*/ 89243 h 89786"/>
                <a:gd name="connsiteX12" fmla="*/ 98184 w 101009"/>
                <a:gd name="connsiteY12" fmla="*/ 90651 h 89786"/>
                <a:gd name="connsiteX13" fmla="*/ 95872 w 101009"/>
                <a:gd name="connsiteY13" fmla="*/ 91151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009" h="89786">
                  <a:moveTo>
                    <a:pt x="95872" y="91151"/>
                  </a:moveTo>
                  <a:cubicBezTo>
                    <a:pt x="94508" y="91151"/>
                    <a:pt x="93195" y="90651"/>
                    <a:pt x="92168" y="89748"/>
                  </a:cubicBezTo>
                  <a:lnTo>
                    <a:pt x="4402" y="12307"/>
                  </a:lnTo>
                  <a:cubicBezTo>
                    <a:pt x="3841" y="11819"/>
                    <a:pt x="3381" y="11230"/>
                    <a:pt x="3055" y="10562"/>
                  </a:cubicBezTo>
                  <a:cubicBezTo>
                    <a:pt x="2724" y="9894"/>
                    <a:pt x="2533" y="9171"/>
                    <a:pt x="2483" y="8430"/>
                  </a:cubicBezTo>
                  <a:cubicBezTo>
                    <a:pt x="2438" y="7689"/>
                    <a:pt x="2539" y="6948"/>
                    <a:pt x="2780" y="6241"/>
                  </a:cubicBezTo>
                  <a:cubicBezTo>
                    <a:pt x="3022" y="5540"/>
                    <a:pt x="3403" y="4894"/>
                    <a:pt x="3897" y="4339"/>
                  </a:cubicBezTo>
                  <a:cubicBezTo>
                    <a:pt x="4890" y="3233"/>
                    <a:pt x="6276" y="2566"/>
                    <a:pt x="7763" y="2482"/>
                  </a:cubicBezTo>
                  <a:cubicBezTo>
                    <a:pt x="9245" y="2397"/>
                    <a:pt x="10698" y="2902"/>
                    <a:pt x="11809" y="3890"/>
                  </a:cubicBezTo>
                  <a:lnTo>
                    <a:pt x="99575" y="81330"/>
                  </a:lnTo>
                  <a:cubicBezTo>
                    <a:pt x="100692" y="82318"/>
                    <a:pt x="101371" y="83699"/>
                    <a:pt x="101466" y="85186"/>
                  </a:cubicBezTo>
                  <a:cubicBezTo>
                    <a:pt x="101562" y="86667"/>
                    <a:pt x="101062" y="88126"/>
                    <a:pt x="100080" y="89243"/>
                  </a:cubicBezTo>
                  <a:cubicBezTo>
                    <a:pt x="99553" y="89843"/>
                    <a:pt x="98907" y="90320"/>
                    <a:pt x="98184" y="90651"/>
                  </a:cubicBezTo>
                  <a:cubicBezTo>
                    <a:pt x="97454" y="90982"/>
                    <a:pt x="96668" y="91151"/>
                    <a:pt x="95872" y="91151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137">
              <a:extLst>
                <a:ext uri="{FF2B5EF4-FFF2-40B4-BE49-F238E27FC236}">
                  <a16:creationId xmlns:a16="http://schemas.microsoft.com/office/drawing/2014/main" id="{1E6B90A2-FE20-4ACF-B94E-C46000B14F5C}"/>
                </a:ext>
              </a:extLst>
            </p:cNvPr>
            <p:cNvSpPr/>
            <p:nvPr/>
          </p:nvSpPr>
          <p:spPr>
            <a:xfrm>
              <a:off x="3760007" y="6029806"/>
              <a:ext cx="129067" cy="117844"/>
            </a:xfrm>
            <a:custGeom>
              <a:avLst/>
              <a:gdLst>
                <a:gd name="connsiteX0" fmla="*/ 121642 w 129067"/>
                <a:gd name="connsiteY0" fmla="*/ 117742 h 117844"/>
                <a:gd name="connsiteX1" fmla="*/ 117882 w 129067"/>
                <a:gd name="connsiteY1" fmla="*/ 116283 h 117844"/>
                <a:gd name="connsiteX2" fmla="*/ 4303 w 129067"/>
                <a:gd name="connsiteY2" fmla="*/ 12243 h 117844"/>
                <a:gd name="connsiteX3" fmla="*/ 2479 w 129067"/>
                <a:gd name="connsiteY3" fmla="*/ 8349 h 117844"/>
                <a:gd name="connsiteX4" fmla="*/ 3938 w 129067"/>
                <a:gd name="connsiteY4" fmla="*/ 4303 h 117844"/>
                <a:gd name="connsiteX5" fmla="*/ 7833 w 129067"/>
                <a:gd name="connsiteY5" fmla="*/ 2479 h 117844"/>
                <a:gd name="connsiteX6" fmla="*/ 11879 w 129067"/>
                <a:gd name="connsiteY6" fmla="*/ 3938 h 117844"/>
                <a:gd name="connsiteX7" fmla="*/ 125458 w 129067"/>
                <a:gd name="connsiteY7" fmla="*/ 107978 h 117844"/>
                <a:gd name="connsiteX8" fmla="*/ 127259 w 129067"/>
                <a:gd name="connsiteY8" fmla="*/ 111867 h 117844"/>
                <a:gd name="connsiteX9" fmla="*/ 125795 w 129067"/>
                <a:gd name="connsiteY9" fmla="*/ 115890 h 117844"/>
                <a:gd name="connsiteX10" fmla="*/ 123915 w 129067"/>
                <a:gd name="connsiteY10" fmla="*/ 117254 h 117844"/>
                <a:gd name="connsiteX11" fmla="*/ 121642 w 129067"/>
                <a:gd name="connsiteY11" fmla="*/ 117742 h 117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067" h="117844">
                  <a:moveTo>
                    <a:pt x="121642" y="117742"/>
                  </a:moveTo>
                  <a:cubicBezTo>
                    <a:pt x="120250" y="117736"/>
                    <a:pt x="118915" y="117220"/>
                    <a:pt x="117882" y="116283"/>
                  </a:cubicBezTo>
                  <a:lnTo>
                    <a:pt x="4303" y="12243"/>
                  </a:lnTo>
                  <a:cubicBezTo>
                    <a:pt x="3203" y="11239"/>
                    <a:pt x="2546" y="9836"/>
                    <a:pt x="2479" y="8349"/>
                  </a:cubicBezTo>
                  <a:cubicBezTo>
                    <a:pt x="2406" y="6862"/>
                    <a:pt x="2934" y="5403"/>
                    <a:pt x="3938" y="4303"/>
                  </a:cubicBezTo>
                  <a:cubicBezTo>
                    <a:pt x="4943" y="3203"/>
                    <a:pt x="6346" y="2547"/>
                    <a:pt x="7833" y="2479"/>
                  </a:cubicBezTo>
                  <a:cubicBezTo>
                    <a:pt x="9325" y="2406"/>
                    <a:pt x="10779" y="2934"/>
                    <a:pt x="11879" y="3938"/>
                  </a:cubicBezTo>
                  <a:lnTo>
                    <a:pt x="125458" y="107978"/>
                  </a:lnTo>
                  <a:cubicBezTo>
                    <a:pt x="126552" y="108982"/>
                    <a:pt x="127198" y="110380"/>
                    <a:pt x="127259" y="111867"/>
                  </a:cubicBezTo>
                  <a:cubicBezTo>
                    <a:pt x="127327" y="113348"/>
                    <a:pt x="126799" y="114796"/>
                    <a:pt x="125795" y="115890"/>
                  </a:cubicBezTo>
                  <a:cubicBezTo>
                    <a:pt x="125273" y="116474"/>
                    <a:pt x="124627" y="116939"/>
                    <a:pt x="123915" y="117254"/>
                  </a:cubicBezTo>
                  <a:cubicBezTo>
                    <a:pt x="123196" y="117574"/>
                    <a:pt x="122428" y="117742"/>
                    <a:pt x="121642" y="117742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138">
              <a:extLst>
                <a:ext uri="{FF2B5EF4-FFF2-40B4-BE49-F238E27FC236}">
                  <a16:creationId xmlns:a16="http://schemas.microsoft.com/office/drawing/2014/main" id="{6DBC4A26-CA8E-4DBD-A14B-9DC3B540D5A1}"/>
                </a:ext>
              </a:extLst>
            </p:cNvPr>
            <p:cNvSpPr/>
            <p:nvPr/>
          </p:nvSpPr>
          <p:spPr>
            <a:xfrm>
              <a:off x="3458775" y="5803058"/>
              <a:ext cx="106621" cy="106621"/>
            </a:xfrm>
            <a:custGeom>
              <a:avLst/>
              <a:gdLst>
                <a:gd name="connsiteX0" fmla="*/ 8174 w 106620"/>
                <a:gd name="connsiteY0" fmla="*/ 109711 h 106620"/>
                <a:gd name="connsiteX1" fmla="*/ 5035 w 106620"/>
                <a:gd name="connsiteY1" fmla="*/ 108808 h 106620"/>
                <a:gd name="connsiteX2" fmla="*/ 2928 w 106620"/>
                <a:gd name="connsiteY2" fmla="*/ 106311 h 106620"/>
                <a:gd name="connsiteX3" fmla="*/ 2568 w 106620"/>
                <a:gd name="connsiteY3" fmla="*/ 103067 h 106620"/>
                <a:gd name="connsiteX4" fmla="*/ 4078 w 106620"/>
                <a:gd name="connsiteY4" fmla="*/ 100171 h 106620"/>
                <a:gd name="connsiteX5" fmla="*/ 95771 w 106620"/>
                <a:gd name="connsiteY5" fmla="*/ 4213 h 106620"/>
                <a:gd name="connsiteX6" fmla="*/ 97574 w 106620"/>
                <a:gd name="connsiteY6" fmla="*/ 2950 h 106620"/>
                <a:gd name="connsiteX7" fmla="*/ 99722 w 106620"/>
                <a:gd name="connsiteY7" fmla="*/ 2473 h 106620"/>
                <a:gd name="connsiteX8" fmla="*/ 101887 w 106620"/>
                <a:gd name="connsiteY8" fmla="*/ 2860 h 106620"/>
                <a:gd name="connsiteX9" fmla="*/ 103739 w 106620"/>
                <a:gd name="connsiteY9" fmla="*/ 4044 h 106620"/>
                <a:gd name="connsiteX10" fmla="*/ 105000 w 106620"/>
                <a:gd name="connsiteY10" fmla="*/ 5846 h 106620"/>
                <a:gd name="connsiteX11" fmla="*/ 105474 w 106620"/>
                <a:gd name="connsiteY11" fmla="*/ 7989 h 106620"/>
                <a:gd name="connsiteX12" fmla="*/ 105093 w 106620"/>
                <a:gd name="connsiteY12" fmla="*/ 10155 h 106620"/>
                <a:gd name="connsiteX13" fmla="*/ 103909 w 106620"/>
                <a:gd name="connsiteY13" fmla="*/ 12013 h 106620"/>
                <a:gd name="connsiteX14" fmla="*/ 12216 w 106620"/>
                <a:gd name="connsiteY14" fmla="*/ 107972 h 106620"/>
                <a:gd name="connsiteX15" fmla="*/ 10372 w 106620"/>
                <a:gd name="connsiteY15" fmla="*/ 109251 h 106620"/>
                <a:gd name="connsiteX16" fmla="*/ 8174 w 106620"/>
                <a:gd name="connsiteY16" fmla="*/ 109711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6620" h="106620">
                  <a:moveTo>
                    <a:pt x="8174" y="109711"/>
                  </a:moveTo>
                  <a:cubicBezTo>
                    <a:pt x="7062" y="109728"/>
                    <a:pt x="5968" y="109414"/>
                    <a:pt x="5035" y="108808"/>
                  </a:cubicBezTo>
                  <a:cubicBezTo>
                    <a:pt x="4100" y="108202"/>
                    <a:pt x="3366" y="107332"/>
                    <a:pt x="2928" y="106311"/>
                  </a:cubicBezTo>
                  <a:cubicBezTo>
                    <a:pt x="2488" y="105289"/>
                    <a:pt x="2364" y="104161"/>
                    <a:pt x="2568" y="103067"/>
                  </a:cubicBezTo>
                  <a:cubicBezTo>
                    <a:pt x="2773" y="101973"/>
                    <a:pt x="3299" y="100963"/>
                    <a:pt x="4078" y="100171"/>
                  </a:cubicBezTo>
                  <a:lnTo>
                    <a:pt x="95771" y="4213"/>
                  </a:lnTo>
                  <a:cubicBezTo>
                    <a:pt x="96284" y="3674"/>
                    <a:pt x="96896" y="3248"/>
                    <a:pt x="97574" y="2950"/>
                  </a:cubicBezTo>
                  <a:cubicBezTo>
                    <a:pt x="98252" y="2653"/>
                    <a:pt x="98983" y="2490"/>
                    <a:pt x="99722" y="2473"/>
                  </a:cubicBezTo>
                  <a:cubicBezTo>
                    <a:pt x="100463" y="2462"/>
                    <a:pt x="101198" y="2591"/>
                    <a:pt x="101887" y="2860"/>
                  </a:cubicBezTo>
                  <a:cubicBezTo>
                    <a:pt x="102577" y="3130"/>
                    <a:pt x="103205" y="3528"/>
                    <a:pt x="103739" y="4044"/>
                  </a:cubicBezTo>
                  <a:cubicBezTo>
                    <a:pt x="104274" y="4555"/>
                    <a:pt x="104702" y="5167"/>
                    <a:pt x="105000" y="5846"/>
                  </a:cubicBezTo>
                  <a:cubicBezTo>
                    <a:pt x="105298" y="6525"/>
                    <a:pt x="105458" y="7254"/>
                    <a:pt x="105474" y="7989"/>
                  </a:cubicBezTo>
                  <a:cubicBezTo>
                    <a:pt x="105490" y="8730"/>
                    <a:pt x="105362" y="9465"/>
                    <a:pt x="105093" y="10155"/>
                  </a:cubicBezTo>
                  <a:cubicBezTo>
                    <a:pt x="104825" y="10846"/>
                    <a:pt x="104422" y="11474"/>
                    <a:pt x="103909" y="12013"/>
                  </a:cubicBezTo>
                  <a:lnTo>
                    <a:pt x="12216" y="107972"/>
                  </a:lnTo>
                  <a:cubicBezTo>
                    <a:pt x="11695" y="108516"/>
                    <a:pt x="11067" y="108954"/>
                    <a:pt x="10372" y="109251"/>
                  </a:cubicBezTo>
                  <a:cubicBezTo>
                    <a:pt x="9678" y="109549"/>
                    <a:pt x="8931" y="109706"/>
                    <a:pt x="8174" y="109711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139">
              <a:extLst>
                <a:ext uri="{FF2B5EF4-FFF2-40B4-BE49-F238E27FC236}">
                  <a16:creationId xmlns:a16="http://schemas.microsoft.com/office/drawing/2014/main" id="{8B099E7E-6E8E-4C22-B457-93C948F49617}"/>
                </a:ext>
              </a:extLst>
            </p:cNvPr>
            <p:cNvSpPr/>
            <p:nvPr/>
          </p:nvSpPr>
          <p:spPr>
            <a:xfrm>
              <a:off x="3601571" y="6170446"/>
              <a:ext cx="667784" cy="56116"/>
            </a:xfrm>
            <a:custGeom>
              <a:avLst/>
              <a:gdLst>
                <a:gd name="connsiteX0" fmla="*/ 665541 w 667783"/>
                <a:gd name="connsiteY0" fmla="*/ 54773 h 56116"/>
                <a:gd name="connsiteX1" fmla="*/ 2472 w 667783"/>
                <a:gd name="connsiteY1" fmla="*/ 54773 h 56116"/>
                <a:gd name="connsiteX2" fmla="*/ 2472 w 667783"/>
                <a:gd name="connsiteY2" fmla="*/ 42596 h 56116"/>
                <a:gd name="connsiteX3" fmla="*/ 14222 w 667783"/>
                <a:gd name="connsiteY3" fmla="*/ 14223 h 56116"/>
                <a:gd name="connsiteX4" fmla="*/ 42594 w 667783"/>
                <a:gd name="connsiteY4" fmla="*/ 2472 h 56116"/>
                <a:gd name="connsiteX5" fmla="*/ 665485 w 667783"/>
                <a:gd name="connsiteY5" fmla="*/ 2472 h 56116"/>
                <a:gd name="connsiteX6" fmla="*/ 665485 w 667783"/>
                <a:gd name="connsiteY6" fmla="*/ 54773 h 56116"/>
                <a:gd name="connsiteX7" fmla="*/ 665541 w 667783"/>
                <a:gd name="connsiteY7" fmla="*/ 54773 h 5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7783" h="56116">
                  <a:moveTo>
                    <a:pt x="665541" y="54773"/>
                  </a:moveTo>
                  <a:lnTo>
                    <a:pt x="2472" y="54773"/>
                  </a:lnTo>
                  <a:lnTo>
                    <a:pt x="2472" y="42596"/>
                  </a:lnTo>
                  <a:cubicBezTo>
                    <a:pt x="2472" y="31956"/>
                    <a:pt x="6700" y="21748"/>
                    <a:pt x="14222" y="14223"/>
                  </a:cubicBezTo>
                  <a:cubicBezTo>
                    <a:pt x="21747" y="6704"/>
                    <a:pt x="31955" y="2472"/>
                    <a:pt x="42594" y="2472"/>
                  </a:cubicBezTo>
                  <a:lnTo>
                    <a:pt x="665485" y="2472"/>
                  </a:lnTo>
                  <a:lnTo>
                    <a:pt x="665485" y="54773"/>
                  </a:lnTo>
                  <a:lnTo>
                    <a:pt x="665541" y="54773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140">
              <a:extLst>
                <a:ext uri="{FF2B5EF4-FFF2-40B4-BE49-F238E27FC236}">
                  <a16:creationId xmlns:a16="http://schemas.microsoft.com/office/drawing/2014/main" id="{C8A66021-E090-42A3-A5A6-040298DDDF0A}"/>
                </a:ext>
              </a:extLst>
            </p:cNvPr>
            <p:cNvSpPr/>
            <p:nvPr/>
          </p:nvSpPr>
          <p:spPr>
            <a:xfrm>
              <a:off x="4007346" y="5743676"/>
              <a:ext cx="740735" cy="482600"/>
            </a:xfrm>
            <a:custGeom>
              <a:avLst/>
              <a:gdLst>
                <a:gd name="connsiteX0" fmla="*/ 2472 w 740734"/>
                <a:gd name="connsiteY0" fmla="*/ 481537 h 482599"/>
                <a:gd name="connsiteX1" fmla="*/ 605386 w 740734"/>
                <a:gd name="connsiteY1" fmla="*/ 481537 h 482599"/>
                <a:gd name="connsiteX2" fmla="*/ 737876 w 740734"/>
                <a:gd name="connsiteY2" fmla="*/ 81035 h 482599"/>
                <a:gd name="connsiteX3" fmla="*/ 740216 w 740734"/>
                <a:gd name="connsiteY3" fmla="*/ 53145 h 482599"/>
                <a:gd name="connsiteX4" fmla="*/ 729599 w 740734"/>
                <a:gd name="connsiteY4" fmla="*/ 27248 h 482599"/>
                <a:gd name="connsiteX5" fmla="*/ 708354 w 740734"/>
                <a:gd name="connsiteY5" fmla="*/ 9027 h 482599"/>
                <a:gd name="connsiteX6" fmla="*/ 681143 w 740734"/>
                <a:gd name="connsiteY6" fmla="*/ 2472 h 482599"/>
                <a:gd name="connsiteX7" fmla="*/ 204154 w 740734"/>
                <a:gd name="connsiteY7" fmla="*/ 2472 h 482599"/>
                <a:gd name="connsiteX8" fmla="*/ 169138 w 740734"/>
                <a:gd name="connsiteY8" fmla="*/ 13780 h 482599"/>
                <a:gd name="connsiteX9" fmla="*/ 147365 w 740734"/>
                <a:gd name="connsiteY9" fmla="*/ 43437 h 482599"/>
                <a:gd name="connsiteX10" fmla="*/ 2472 w 740734"/>
                <a:gd name="connsiteY10" fmla="*/ 481537 h 48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0734" h="482599">
                  <a:moveTo>
                    <a:pt x="2472" y="481537"/>
                  </a:moveTo>
                  <a:lnTo>
                    <a:pt x="605386" y="481537"/>
                  </a:lnTo>
                  <a:lnTo>
                    <a:pt x="737876" y="81035"/>
                  </a:lnTo>
                  <a:cubicBezTo>
                    <a:pt x="740850" y="72057"/>
                    <a:pt x="741653" y="62494"/>
                    <a:pt x="740216" y="53145"/>
                  </a:cubicBezTo>
                  <a:cubicBezTo>
                    <a:pt x="738774" y="43796"/>
                    <a:pt x="735138" y="34919"/>
                    <a:pt x="729599" y="27248"/>
                  </a:cubicBezTo>
                  <a:cubicBezTo>
                    <a:pt x="724055" y="19577"/>
                    <a:pt x="716776" y="13331"/>
                    <a:pt x="708354" y="9027"/>
                  </a:cubicBezTo>
                  <a:cubicBezTo>
                    <a:pt x="699930" y="4717"/>
                    <a:pt x="690604" y="2472"/>
                    <a:pt x="681143" y="2472"/>
                  </a:cubicBezTo>
                  <a:lnTo>
                    <a:pt x="204154" y="2472"/>
                  </a:lnTo>
                  <a:cubicBezTo>
                    <a:pt x="191584" y="2472"/>
                    <a:pt x="179334" y="6423"/>
                    <a:pt x="169138" y="13780"/>
                  </a:cubicBezTo>
                  <a:cubicBezTo>
                    <a:pt x="158947" y="21131"/>
                    <a:pt x="151326" y="31507"/>
                    <a:pt x="147365" y="43437"/>
                  </a:cubicBezTo>
                  <a:lnTo>
                    <a:pt x="2472" y="481537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141">
              <a:extLst>
                <a:ext uri="{FF2B5EF4-FFF2-40B4-BE49-F238E27FC236}">
                  <a16:creationId xmlns:a16="http://schemas.microsoft.com/office/drawing/2014/main" id="{3AAFD3CC-5CD4-49ED-873F-14DCDBFEB8C7}"/>
                </a:ext>
              </a:extLst>
            </p:cNvPr>
            <p:cNvSpPr/>
            <p:nvPr/>
          </p:nvSpPr>
          <p:spPr>
            <a:xfrm>
              <a:off x="4372854" y="5950094"/>
              <a:ext cx="89786" cy="89786"/>
            </a:xfrm>
            <a:custGeom>
              <a:avLst/>
              <a:gdLst>
                <a:gd name="connsiteX0" fmla="*/ 74992 w 89786"/>
                <a:gd name="connsiteY0" fmla="*/ 74992 h 89786"/>
                <a:gd name="connsiteX1" fmla="*/ 74986 w 89786"/>
                <a:gd name="connsiteY1" fmla="*/ 14913 h 89786"/>
                <a:gd name="connsiteX2" fmla="*/ 14913 w 89786"/>
                <a:gd name="connsiteY2" fmla="*/ 14913 h 89786"/>
                <a:gd name="connsiteX3" fmla="*/ 14913 w 89786"/>
                <a:gd name="connsiteY3" fmla="*/ 74992 h 89786"/>
                <a:gd name="connsiteX4" fmla="*/ 74992 w 89786"/>
                <a:gd name="connsiteY4" fmla="*/ 74992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86" h="89786">
                  <a:moveTo>
                    <a:pt x="74992" y="74992"/>
                  </a:moveTo>
                  <a:cubicBezTo>
                    <a:pt x="91579" y="58398"/>
                    <a:pt x="91579" y="31501"/>
                    <a:pt x="74986" y="14913"/>
                  </a:cubicBezTo>
                  <a:cubicBezTo>
                    <a:pt x="58398" y="-1675"/>
                    <a:pt x="31501" y="-1675"/>
                    <a:pt x="14913" y="14913"/>
                  </a:cubicBezTo>
                  <a:cubicBezTo>
                    <a:pt x="-1675" y="31501"/>
                    <a:pt x="-1675" y="58398"/>
                    <a:pt x="14913" y="74992"/>
                  </a:cubicBezTo>
                  <a:cubicBezTo>
                    <a:pt x="31501" y="91579"/>
                    <a:pt x="58398" y="91579"/>
                    <a:pt x="74992" y="7499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142">
              <a:extLst>
                <a:ext uri="{FF2B5EF4-FFF2-40B4-BE49-F238E27FC236}">
                  <a16:creationId xmlns:a16="http://schemas.microsoft.com/office/drawing/2014/main" id="{2DB6D34A-4CD1-4C9F-8E57-B3D6A021F185}"/>
                </a:ext>
              </a:extLst>
            </p:cNvPr>
            <p:cNvSpPr/>
            <p:nvPr/>
          </p:nvSpPr>
          <p:spPr>
            <a:xfrm>
              <a:off x="4367221" y="5944467"/>
              <a:ext cx="101009" cy="101009"/>
            </a:xfrm>
            <a:custGeom>
              <a:avLst/>
              <a:gdLst>
                <a:gd name="connsiteX0" fmla="*/ 50563 w 101009"/>
                <a:gd name="connsiteY0" fmla="*/ 98655 h 101009"/>
                <a:gd name="connsiteX1" fmla="*/ 23846 w 101009"/>
                <a:gd name="connsiteY1" fmla="*/ 90551 h 101009"/>
                <a:gd name="connsiteX2" fmla="*/ 6136 w 101009"/>
                <a:gd name="connsiteY2" fmla="*/ 68969 h 101009"/>
                <a:gd name="connsiteX3" fmla="*/ 3397 w 101009"/>
                <a:gd name="connsiteY3" fmla="*/ 41186 h 101009"/>
                <a:gd name="connsiteX4" fmla="*/ 16557 w 101009"/>
                <a:gd name="connsiteY4" fmla="*/ 16562 h 101009"/>
                <a:gd name="connsiteX5" fmla="*/ 41180 w 101009"/>
                <a:gd name="connsiteY5" fmla="*/ 3397 h 101009"/>
                <a:gd name="connsiteX6" fmla="*/ 68969 w 101009"/>
                <a:gd name="connsiteY6" fmla="*/ 6136 h 101009"/>
                <a:gd name="connsiteX7" fmla="*/ 90551 w 101009"/>
                <a:gd name="connsiteY7" fmla="*/ 23846 h 101009"/>
                <a:gd name="connsiteX8" fmla="*/ 98655 w 101009"/>
                <a:gd name="connsiteY8" fmla="*/ 50563 h 101009"/>
                <a:gd name="connsiteX9" fmla="*/ 84536 w 101009"/>
                <a:gd name="connsiteY9" fmla="*/ 84541 h 101009"/>
                <a:gd name="connsiteX10" fmla="*/ 50563 w 101009"/>
                <a:gd name="connsiteY10" fmla="*/ 98655 h 101009"/>
                <a:gd name="connsiteX11" fmla="*/ 50563 w 101009"/>
                <a:gd name="connsiteY11" fmla="*/ 13695 h 101009"/>
                <a:gd name="connsiteX12" fmla="*/ 30081 w 101009"/>
                <a:gd name="connsiteY12" fmla="*/ 19912 h 101009"/>
                <a:gd name="connsiteX13" fmla="*/ 16500 w 101009"/>
                <a:gd name="connsiteY13" fmla="*/ 36455 h 101009"/>
                <a:gd name="connsiteX14" fmla="*/ 14402 w 101009"/>
                <a:gd name="connsiteY14" fmla="*/ 57757 h 101009"/>
                <a:gd name="connsiteX15" fmla="*/ 24497 w 101009"/>
                <a:gd name="connsiteY15" fmla="*/ 76635 h 101009"/>
                <a:gd name="connsiteX16" fmla="*/ 43369 w 101009"/>
                <a:gd name="connsiteY16" fmla="*/ 86724 h 101009"/>
                <a:gd name="connsiteX17" fmla="*/ 64671 w 101009"/>
                <a:gd name="connsiteY17" fmla="*/ 84626 h 101009"/>
                <a:gd name="connsiteX18" fmla="*/ 81219 w 101009"/>
                <a:gd name="connsiteY18" fmla="*/ 71051 h 101009"/>
                <a:gd name="connsiteX19" fmla="*/ 87431 w 101009"/>
                <a:gd name="connsiteY19" fmla="*/ 50563 h 101009"/>
                <a:gd name="connsiteX20" fmla="*/ 76595 w 101009"/>
                <a:gd name="connsiteY20" fmla="*/ 24548 h 101009"/>
                <a:gd name="connsiteX21" fmla="*/ 50563 w 101009"/>
                <a:gd name="connsiteY21" fmla="*/ 13751 h 101009"/>
                <a:gd name="connsiteX22" fmla="*/ 50563 w 101009"/>
                <a:gd name="connsiteY22" fmla="*/ 13695 h 10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009" h="101009">
                  <a:moveTo>
                    <a:pt x="50563" y="98655"/>
                  </a:moveTo>
                  <a:cubicBezTo>
                    <a:pt x="41051" y="98655"/>
                    <a:pt x="31753" y="95838"/>
                    <a:pt x="23846" y="90551"/>
                  </a:cubicBezTo>
                  <a:cubicBezTo>
                    <a:pt x="15939" y="85265"/>
                    <a:pt x="9772" y="77757"/>
                    <a:pt x="6136" y="68969"/>
                  </a:cubicBezTo>
                  <a:cubicBezTo>
                    <a:pt x="2494" y="60181"/>
                    <a:pt x="1540" y="50513"/>
                    <a:pt x="3397" y="41186"/>
                  </a:cubicBezTo>
                  <a:cubicBezTo>
                    <a:pt x="5249" y="31854"/>
                    <a:pt x="9828" y="23285"/>
                    <a:pt x="16557" y="16562"/>
                  </a:cubicBezTo>
                  <a:cubicBezTo>
                    <a:pt x="23285" y="9834"/>
                    <a:pt x="31854" y="5255"/>
                    <a:pt x="41180" y="3397"/>
                  </a:cubicBezTo>
                  <a:cubicBezTo>
                    <a:pt x="50513" y="1540"/>
                    <a:pt x="60181" y="2494"/>
                    <a:pt x="68969" y="6136"/>
                  </a:cubicBezTo>
                  <a:cubicBezTo>
                    <a:pt x="77757" y="9772"/>
                    <a:pt x="85265" y="15939"/>
                    <a:pt x="90551" y="23846"/>
                  </a:cubicBezTo>
                  <a:cubicBezTo>
                    <a:pt x="95838" y="31759"/>
                    <a:pt x="98655" y="41051"/>
                    <a:pt x="98655" y="50563"/>
                  </a:cubicBezTo>
                  <a:cubicBezTo>
                    <a:pt x="98627" y="63313"/>
                    <a:pt x="93548" y="75529"/>
                    <a:pt x="84536" y="84541"/>
                  </a:cubicBezTo>
                  <a:cubicBezTo>
                    <a:pt x="75524" y="93554"/>
                    <a:pt x="63307" y="98627"/>
                    <a:pt x="50563" y="98655"/>
                  </a:cubicBezTo>
                  <a:close/>
                  <a:moveTo>
                    <a:pt x="50563" y="13695"/>
                  </a:moveTo>
                  <a:cubicBezTo>
                    <a:pt x="43274" y="13695"/>
                    <a:pt x="36147" y="15861"/>
                    <a:pt x="30081" y="19912"/>
                  </a:cubicBezTo>
                  <a:cubicBezTo>
                    <a:pt x="24020" y="23964"/>
                    <a:pt x="19295" y="29721"/>
                    <a:pt x="16500" y="36455"/>
                  </a:cubicBezTo>
                  <a:cubicBezTo>
                    <a:pt x="13712" y="43195"/>
                    <a:pt x="12982" y="50608"/>
                    <a:pt x="14402" y="57757"/>
                  </a:cubicBezTo>
                  <a:cubicBezTo>
                    <a:pt x="15827" y="64912"/>
                    <a:pt x="19340" y="71478"/>
                    <a:pt x="24497" y="76635"/>
                  </a:cubicBezTo>
                  <a:cubicBezTo>
                    <a:pt x="29649" y="81792"/>
                    <a:pt x="36220" y="85305"/>
                    <a:pt x="43369" y="86724"/>
                  </a:cubicBezTo>
                  <a:cubicBezTo>
                    <a:pt x="50524" y="88150"/>
                    <a:pt x="57937" y="87420"/>
                    <a:pt x="64671" y="84626"/>
                  </a:cubicBezTo>
                  <a:cubicBezTo>
                    <a:pt x="71410" y="81837"/>
                    <a:pt x="77168" y="77112"/>
                    <a:pt x="81219" y="71051"/>
                  </a:cubicBezTo>
                  <a:cubicBezTo>
                    <a:pt x="85271" y="64985"/>
                    <a:pt x="87431" y="57858"/>
                    <a:pt x="87431" y="50563"/>
                  </a:cubicBezTo>
                  <a:cubicBezTo>
                    <a:pt x="87403" y="40804"/>
                    <a:pt x="83509" y="31450"/>
                    <a:pt x="76595" y="24548"/>
                  </a:cubicBezTo>
                  <a:cubicBezTo>
                    <a:pt x="69687" y="17651"/>
                    <a:pt x="60327" y="13768"/>
                    <a:pt x="50563" y="13751"/>
                  </a:cubicBezTo>
                  <a:lnTo>
                    <a:pt x="50563" y="13695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143">
              <a:extLst>
                <a:ext uri="{FF2B5EF4-FFF2-40B4-BE49-F238E27FC236}">
                  <a16:creationId xmlns:a16="http://schemas.microsoft.com/office/drawing/2014/main" id="{14088259-9834-4D39-942D-255FB2064CD1}"/>
                </a:ext>
              </a:extLst>
            </p:cNvPr>
            <p:cNvSpPr/>
            <p:nvPr/>
          </p:nvSpPr>
          <p:spPr>
            <a:xfrm>
              <a:off x="3782254" y="5312820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6" name="Объект 14">
            <a:extLst>
              <a:ext uri="{FF2B5EF4-FFF2-40B4-BE49-F238E27FC236}">
                <a16:creationId xmlns:a16="http://schemas.microsoft.com/office/drawing/2014/main" id="{FF1A837C-9AAF-7AAD-8A2E-54476FC8F6E4}"/>
              </a:ext>
            </a:extLst>
          </p:cNvPr>
          <p:cNvSpPr txBox="1">
            <a:spLocks/>
          </p:cNvSpPr>
          <p:nvPr/>
        </p:nvSpPr>
        <p:spPr>
          <a:xfrm>
            <a:off x="4369098" y="3889636"/>
            <a:ext cx="5259388" cy="113336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MTS Text" panose="020B0306020102020303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3395393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50FCA58-CB37-B0C8-8305-D257796C69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2697" y="0"/>
            <a:ext cx="69466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1814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3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Компоненты системы: </a:t>
            </a:r>
            <a:r>
              <a:rPr lang="en-US" sz="5400" dirty="0"/>
              <a:t>File Manager </a:t>
            </a:r>
            <a:r>
              <a:rPr lang="ru-RU" sz="5400" dirty="0"/>
              <a:t>и </a:t>
            </a:r>
            <a:r>
              <a:rPr lang="en-US" sz="5400" dirty="0"/>
              <a:t>CD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51665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1794839"/>
            <a:ext cx="6793626" cy="38820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Поскольку система требует хранить большие объемы данных и обеспечивать их доступность и небольшие задержки для пользователей по всех территории РФ мы </a:t>
            </a:r>
            <a:r>
              <a:rPr lang="ru-RU" sz="1800" dirty="0"/>
              <a:t>спроектировали</a:t>
            </a:r>
            <a:r>
              <a:rPr lang="ru-RU" sz="1800" b="0" dirty="0">
                <a:effectLst/>
              </a:rPr>
              <a:t> систему загрузки контента через сервис управления файлами</a:t>
            </a:r>
            <a:r>
              <a:rPr lang="en-US" sz="1800" b="0" dirty="0">
                <a:effectLst/>
              </a:rPr>
              <a:t> (</a:t>
            </a:r>
            <a:r>
              <a:rPr lang="en-US" sz="1800" dirty="0">
                <a:solidFill>
                  <a:schemeClr val="accent1"/>
                </a:solidFill>
              </a:rPr>
              <a:t>File Manager</a:t>
            </a:r>
            <a:r>
              <a:rPr lang="en-US" sz="1800" b="0" dirty="0">
                <a:effectLst/>
              </a:rPr>
              <a:t>)</a:t>
            </a:r>
            <a:r>
              <a:rPr lang="ru-RU" sz="1800" b="0" dirty="0">
                <a:effectLst/>
              </a:rPr>
              <a:t>, </a:t>
            </a:r>
            <a:r>
              <a:rPr lang="ru-RU" sz="1800" dirty="0"/>
              <a:t>а</a:t>
            </a:r>
            <a:r>
              <a:rPr lang="en-US" sz="1800" b="0" dirty="0">
                <a:effectLst/>
              </a:rPr>
              <a:t> </a:t>
            </a:r>
            <a:r>
              <a:rPr lang="ru-RU" sz="1800" b="0" dirty="0">
                <a:effectLst/>
              </a:rPr>
              <a:t>дистрибьюцию через 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CDN</a:t>
            </a:r>
            <a:r>
              <a:rPr lang="en-US" sz="1800" b="0" dirty="0">
                <a:effectLst/>
              </a:rPr>
              <a:t>.</a:t>
            </a:r>
          </a:p>
          <a:p>
            <a:r>
              <a:rPr lang="ru-RU" sz="1800" b="0" dirty="0">
                <a:effectLst/>
              </a:rPr>
              <a:t>Сервис управления файлами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Предоставляет </a:t>
            </a:r>
            <a:r>
              <a:rPr lang="en-US" sz="1800" b="0" dirty="0">
                <a:effectLst/>
              </a:rPr>
              <a:t>API </a:t>
            </a:r>
            <a:r>
              <a:rPr lang="ru-RU" sz="1800" b="0" dirty="0">
                <a:effectLst/>
              </a:rPr>
              <a:t>для загрузки медиа-контента уроков/курсов в публичный </a:t>
            </a:r>
            <a:r>
              <a:rPr lang="en-US" sz="1800" b="0" dirty="0">
                <a:effectLst/>
              </a:rPr>
              <a:t>s3-</a:t>
            </a:r>
            <a:r>
              <a:rPr lang="ru-RU" sz="1800" b="0" dirty="0" err="1">
                <a:effectLst/>
              </a:rPr>
              <a:t>бакет</a:t>
            </a:r>
            <a:endParaRPr lang="ru-RU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Предоставляет </a:t>
            </a:r>
            <a:r>
              <a:rPr lang="en-US" sz="1800" b="0" dirty="0">
                <a:effectLst/>
              </a:rPr>
              <a:t>API </a:t>
            </a:r>
            <a:r>
              <a:rPr lang="ru-RU" sz="1800" b="0" dirty="0">
                <a:effectLst/>
              </a:rPr>
              <a:t>для загрузки домашних заданий в приватный </a:t>
            </a:r>
            <a:r>
              <a:rPr lang="en-US" sz="1800" b="0" dirty="0">
                <a:effectLst/>
              </a:rPr>
              <a:t>s3-</a:t>
            </a:r>
            <a:r>
              <a:rPr lang="ru-RU" sz="1800" b="0" dirty="0" err="1">
                <a:effectLst/>
              </a:rPr>
              <a:t>бакет</a:t>
            </a:r>
            <a:endParaRPr lang="ru-RU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беспечивает изоляцию доступа к данным домашних заданий студентов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беспечивает интеграцию с </a:t>
            </a:r>
            <a:r>
              <a:rPr lang="en-US" sz="1800" b="0" dirty="0">
                <a:effectLst/>
              </a:rPr>
              <a:t>CDN </a:t>
            </a:r>
            <a:r>
              <a:rPr lang="ru-RU" sz="1800" b="0" dirty="0">
                <a:effectLst/>
              </a:rPr>
              <a:t>по модели </a:t>
            </a:r>
            <a:r>
              <a:rPr lang="en-US" sz="1800" b="0" dirty="0">
                <a:effectLst/>
              </a:rPr>
              <a:t>push</a:t>
            </a: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5C0E0629-DC0A-CA3C-0A73-492DD69BE37D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0F4B0464-9B92-AF60-B07F-0B623D22F936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138371A9-05A7-1598-67F4-2074F29871C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F336C9C2-F48E-82C1-ADE3-450F1494E8EA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1E9A5A85-9C45-F642-C556-6AF87A9FDF29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32181513-224F-DFFF-2BB1-EFBC7579AD03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D0B0DB99-E59D-457E-A634-A577833ED8A6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08BBC8D4-8C68-FB38-20FA-1E7C00B60688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675ABA0B-963B-5687-BE97-BCB54A4B1595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388A423C-B8F7-D0CC-6CFB-15DEAC28F597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3F40B68F-D77A-E3AB-4360-517AB8E8C28C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44F194AE-ED0D-6C77-17C9-F1BE7548F478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5BACB0C1-77FA-49A9-1623-887FFA6B2561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42ACF3B5-980D-E174-C2CB-5C9EB6D9EB45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085AAA3F-85C3-1B0B-0CB7-E9BAF9020806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FD03E6F3-5FBA-12C8-1401-C00C428CB7E5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45FBAB9D-76DC-6376-FCE6-01833428A7F0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2FC2970F-F5A8-E11E-8F25-3FF2F817C7F7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F9ECFFD9-8237-8855-E45A-FF38997007F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9FBA91EB-4E97-5149-A1EE-FA7431C53CB0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9D623A72-E00A-B29F-E89F-69D677AE9162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83AA0E23-50EB-7927-910B-A68F98E6CA4F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2672167B-7E1A-43E8-6582-48D73670A4A0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4CFF5C2-BFEE-D9A1-30C7-08D67CA035D9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D13F6CBF-A075-0168-EFE8-6988543F4C49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1CD29A83-4B5C-DCBD-3E86-7B6F9A1BCB6E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F414FB9A-1A6B-B158-5607-5FCB79BF35BC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C4E62D4F-2C3B-E173-D1FA-40768A4C2E31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854B4E2E-3411-8E89-3647-9C5A8B410254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787572EA-E379-C041-C42E-2DC41292FA36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780E720B-968E-FB61-C158-971A39752BC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2B0661F-8905-B175-5046-BAC13C2B55A7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E321374B-3BB9-B109-069C-01BB40524A55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D7813C14-D083-2E31-9065-C1027DC57201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7EC0844D-1FF7-9B1D-8643-64CFA632E8C6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9F02275D-DC77-856B-1671-2852DC36B3C7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E8D9D435-27DD-3E20-8996-500E4ED0B9EB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4DBF5F2-F736-1B27-5954-15BD71446955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9AC14752-E731-9A73-BAD2-B37D68D117A1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6045AD7A-CA78-1A08-EA85-ECBCBE2C1D9D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D2744247-B9B9-2D2F-1C9B-CD2AEE66DB90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B8C2981C-FC07-10E3-1FE9-4F6F670893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45" name="Стрелка: шеврон 24" descr="красная стрелка">
            <a:extLst>
              <a:ext uri="{FF2B5EF4-FFF2-40B4-BE49-F238E27FC236}">
                <a16:creationId xmlns:a16="http://schemas.microsoft.com/office/drawing/2014/main" id="{A8B47133-215A-FA9D-0F86-4E8E8D08AE0D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1958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82E3D15-7EEE-BEC1-90F2-8ED33D9755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7683" y="0"/>
            <a:ext cx="44766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8194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4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Компоненты системы: </a:t>
            </a:r>
            <a:r>
              <a:rPr lang="en-US" sz="5400" dirty="0"/>
              <a:t>Migration Too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81323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1931473"/>
            <a:ext cx="6793626" cy="27566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Для обеспечения миграции данных мы предусмотрели инструмент миграции (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Migration Tool</a:t>
            </a:r>
            <a:r>
              <a:rPr lang="ru-RU" sz="1800" b="0" dirty="0">
                <a:effectLst/>
              </a:rPr>
              <a:t>)</a:t>
            </a:r>
            <a:r>
              <a:rPr lang="en-US" sz="1800" b="0" dirty="0">
                <a:effectLst/>
              </a:rPr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Консольное приложение</a:t>
            </a:r>
            <a:endParaRPr lang="en-US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Использует публичное </a:t>
            </a:r>
            <a:r>
              <a:rPr lang="en-US" sz="1800" b="0" dirty="0">
                <a:effectLst/>
              </a:rPr>
              <a:t>API </a:t>
            </a:r>
            <a:r>
              <a:rPr lang="ru-RU" sz="1800" b="0" dirty="0">
                <a:effectLst/>
              </a:rPr>
              <a:t>сист</a:t>
            </a:r>
            <a:r>
              <a:rPr lang="ru-RU" sz="1800" dirty="0"/>
              <a:t>е</a:t>
            </a:r>
            <a:r>
              <a:rPr lang="ru-RU" sz="1800" b="0" dirty="0">
                <a:effectLst/>
              </a:rPr>
              <a:t>мы для миграции данных из старой системы</a:t>
            </a:r>
            <a:endParaRPr lang="en-US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Связывание старого аккаунта с новым происходит без участия Администратора (через ввод логина и пароля от старой учетной записи)</a:t>
            </a:r>
          </a:p>
          <a:p>
            <a:endParaRPr lang="en-US" sz="1800" b="0" dirty="0">
              <a:effectLst/>
            </a:endParaRP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5C0E0629-DC0A-CA3C-0A73-492DD69BE37D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0F4B0464-9B92-AF60-B07F-0B623D22F936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138371A9-05A7-1598-67F4-2074F29871C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F336C9C2-F48E-82C1-ADE3-450F1494E8EA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1E9A5A85-9C45-F642-C556-6AF87A9FDF29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32181513-224F-DFFF-2BB1-EFBC7579AD03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D0B0DB99-E59D-457E-A634-A577833ED8A6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08BBC8D4-8C68-FB38-20FA-1E7C00B60688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675ABA0B-963B-5687-BE97-BCB54A4B1595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388A423C-B8F7-D0CC-6CFB-15DEAC28F597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3F40B68F-D77A-E3AB-4360-517AB8E8C28C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44F194AE-ED0D-6C77-17C9-F1BE7548F478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5BACB0C1-77FA-49A9-1623-887FFA6B2561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42ACF3B5-980D-E174-C2CB-5C9EB6D9EB45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085AAA3F-85C3-1B0B-0CB7-E9BAF9020806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FD03E6F3-5FBA-12C8-1401-C00C428CB7E5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45FBAB9D-76DC-6376-FCE6-01833428A7F0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2FC2970F-F5A8-E11E-8F25-3FF2F817C7F7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F9ECFFD9-8237-8855-E45A-FF38997007F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9FBA91EB-4E97-5149-A1EE-FA7431C53CB0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9D623A72-E00A-B29F-E89F-69D677AE9162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83AA0E23-50EB-7927-910B-A68F98E6CA4F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2672167B-7E1A-43E8-6582-48D73670A4A0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4CFF5C2-BFEE-D9A1-30C7-08D67CA035D9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D13F6CBF-A075-0168-EFE8-6988543F4C49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1CD29A83-4B5C-DCBD-3E86-7B6F9A1BCB6E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F414FB9A-1A6B-B158-5607-5FCB79BF35BC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C4E62D4F-2C3B-E173-D1FA-40768A4C2E31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854B4E2E-3411-8E89-3647-9C5A8B410254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787572EA-E379-C041-C42E-2DC41292FA36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780E720B-968E-FB61-C158-971A39752BC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2B0661F-8905-B175-5046-BAC13C2B55A7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E321374B-3BB9-B109-069C-01BB40524A55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D7813C14-D083-2E31-9065-C1027DC57201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7EC0844D-1FF7-9B1D-8643-64CFA632E8C6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9F02275D-DC77-856B-1671-2852DC36B3C7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E8D9D435-27DD-3E20-8996-500E4ED0B9EB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4DBF5F2-F736-1B27-5954-15BD71446955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9AC14752-E731-9A73-BAD2-B37D68D117A1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6045AD7A-CA78-1A08-EA85-ECBCBE2C1D9D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D2744247-B9B9-2D2F-1C9B-CD2AEE66DB90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B8C2981C-FC07-10E3-1FE9-4F6F670893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45" name="Стрелка: шеврон 24" descr="красная стрелка">
            <a:extLst>
              <a:ext uri="{FF2B5EF4-FFF2-40B4-BE49-F238E27FC236}">
                <a16:creationId xmlns:a16="http://schemas.microsoft.com/office/drawing/2014/main" id="{AA50C6F8-792B-6D87-DACE-B0935F580E1D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8114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CA04396-86BC-2DE9-1B44-014BB052C2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703" y="0"/>
            <a:ext cx="59454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385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ru-RU" dirty="0"/>
              <a:t>5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26596" y="480264"/>
            <a:ext cx="11074224" cy="1012205"/>
          </a:xfrm>
        </p:spPr>
        <p:txBody>
          <a:bodyPr/>
          <a:lstStyle/>
          <a:p>
            <a:r>
              <a:rPr lang="ru-RU" sz="4500" dirty="0"/>
              <a:t>Интеграция: МТС Аналитика</a:t>
            </a:r>
          </a:p>
        </p:txBody>
      </p:sp>
    </p:spTree>
    <p:extLst>
      <p:ext uri="{BB962C8B-B14F-4D97-AF65-F5344CB8AC3E}">
        <p14:creationId xmlns:p14="http://schemas.microsoft.com/office/powerpoint/2010/main" val="1602849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441435" y="756744"/>
            <a:ext cx="4876800" cy="5135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Мы используем интеграцию с </a:t>
            </a:r>
            <a:r>
              <a:rPr lang="ru-RU" sz="1800" b="0" dirty="0">
                <a:solidFill>
                  <a:schemeClr val="accent1"/>
                </a:solidFill>
                <a:effectLst/>
              </a:rPr>
              <a:t>МТС Аналитикой</a:t>
            </a:r>
            <a:r>
              <a:rPr lang="ru-RU" sz="1800" b="0" dirty="0">
                <a:effectLst/>
              </a:rPr>
              <a:t> дл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сбора событий пользователей на сайт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я конверс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я популярности (новых) к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и кол-ва просмотров уроков (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KPI</a:t>
            </a:r>
            <a:r>
              <a:rPr lang="en-US" sz="1800" b="0" dirty="0">
                <a:effectLst/>
              </a:rPr>
              <a:t>)</a:t>
            </a:r>
            <a:endParaRPr lang="ru-RU" sz="1800" b="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я кол-ва и поведения новых пользователей</a:t>
            </a:r>
          </a:p>
          <a:p>
            <a:r>
              <a:rPr lang="ru-RU" sz="1800" b="0" dirty="0">
                <a:effectLst/>
              </a:rPr>
              <a:t>и </a:t>
            </a:r>
            <a:r>
              <a:rPr lang="ru-RU" sz="1800" b="0" dirty="0" err="1">
                <a:effectLst/>
              </a:rPr>
              <a:t>тп</a:t>
            </a:r>
            <a:r>
              <a:rPr lang="ru-RU" sz="1800" b="0" dirty="0">
                <a:effectLst/>
              </a:rPr>
              <a:t>. действий позволяющих оценить поведение пользователей на сайте.</a:t>
            </a:r>
          </a:p>
          <a:p>
            <a:br>
              <a:rPr lang="ru-RU" sz="1800" b="0" dirty="0">
                <a:effectLst/>
              </a:rPr>
            </a:br>
            <a:r>
              <a:rPr lang="ru-RU" sz="1800" b="0" dirty="0">
                <a:effectLst/>
              </a:rPr>
              <a:t>Интеграция минимальна по трудозатратам, фактически реализует возможности по комплексному анализу поведения пользователей на сайте.</a:t>
            </a: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C773BDC4-FBFD-445B-1929-C2C1ADA77D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1363" y="492518"/>
            <a:ext cx="5829299" cy="5872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99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ru-RU" dirty="0"/>
              <a:t>6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Диаграмма контейн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5427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481502" y="5213131"/>
            <a:ext cx="2776706" cy="1151114"/>
          </a:xfrm>
        </p:spPr>
        <p:txBody>
          <a:bodyPr/>
          <a:lstStyle/>
          <a:p>
            <a:r>
              <a:rPr lang="ru-RU" dirty="0"/>
              <a:t>02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26596" y="480264"/>
            <a:ext cx="11074224" cy="959653"/>
          </a:xfrm>
        </p:spPr>
        <p:txBody>
          <a:bodyPr/>
          <a:lstStyle/>
          <a:p>
            <a:r>
              <a:rPr lang="ru-RU" dirty="0"/>
              <a:t>Бизнес-контекс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99C60D-53FF-F2FD-9539-B84846859DEA}"/>
              </a:ext>
            </a:extLst>
          </p:cNvPr>
          <p:cNvSpPr txBox="1"/>
          <p:nvPr/>
        </p:nvSpPr>
        <p:spPr>
          <a:xfrm>
            <a:off x="788276" y="1660634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175946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6E50DD6-8B07-E85A-F732-CC6758751B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5297" y="4564"/>
            <a:ext cx="9381406" cy="6853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3637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ru-RU" dirty="0"/>
              <a:t>7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Диаграмма контекс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611224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5B9E587-EEA6-C7E0-E19C-F51E786910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83" y="1261241"/>
            <a:ext cx="11876148" cy="534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87413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8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Инфраструктура</a:t>
            </a:r>
          </a:p>
        </p:txBody>
      </p:sp>
    </p:spTree>
    <p:extLst>
      <p:ext uri="{BB962C8B-B14F-4D97-AF65-F5344CB8AC3E}">
        <p14:creationId xmlns:p14="http://schemas.microsoft.com/office/powerpoint/2010/main" val="32895358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1931473"/>
            <a:ext cx="6793626" cy="25073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0" dirty="0">
                <a:effectLst/>
              </a:rPr>
              <a:t>Управляемый сервис </a:t>
            </a:r>
            <a:r>
              <a:rPr lang="en-US" sz="2400" b="0" dirty="0">
                <a:effectLst/>
              </a:rPr>
              <a:t>Kubernetes </a:t>
            </a:r>
            <a:r>
              <a:rPr lang="ru-RU" sz="2400" b="0" dirty="0">
                <a:effectLst/>
              </a:rPr>
              <a:t>в </a:t>
            </a:r>
            <a:r>
              <a:rPr lang="en-US" sz="2400" b="0" dirty="0">
                <a:effectLst/>
              </a:rPr>
              <a:t>Oce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0" dirty="0">
                <a:effectLst/>
              </a:rPr>
              <a:t>Управляемый сервис </a:t>
            </a:r>
            <a:r>
              <a:rPr lang="en-US" sz="2400" b="0" dirty="0">
                <a:effectLst/>
              </a:rPr>
              <a:t>PostgreSQL </a:t>
            </a:r>
            <a:r>
              <a:rPr lang="ru-RU" sz="2400" b="0" dirty="0">
                <a:effectLst/>
              </a:rPr>
              <a:t>в </a:t>
            </a:r>
            <a:r>
              <a:rPr lang="en-US" sz="2400" b="0" dirty="0">
                <a:effectLst/>
              </a:rPr>
              <a:t>Oce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effectLst/>
              </a:rPr>
              <a:t>S3 + CDN </a:t>
            </a:r>
            <a:r>
              <a:rPr lang="ru-RU" sz="2400" b="0" dirty="0">
                <a:effectLst/>
              </a:rPr>
              <a:t>от </a:t>
            </a:r>
            <a:r>
              <a:rPr lang="en-US" sz="2400" b="0" dirty="0" err="1">
                <a:effectLst/>
              </a:rPr>
              <a:t>MTSCloud</a:t>
            </a:r>
            <a:endParaRPr lang="en-US" sz="2400" b="0" dirty="0">
              <a:effectLst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effectLst/>
              </a:rPr>
              <a:t>Observability Platform + Mission Control Ce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err="1">
                <a:effectLst/>
              </a:rPr>
              <a:t>Fortiweb</a:t>
            </a:r>
            <a:r>
              <a:rPr lang="en-US" sz="2400" b="0" dirty="0">
                <a:effectLst/>
              </a:rPr>
              <a:t> WAF + </a:t>
            </a:r>
            <a:r>
              <a:rPr lang="en-US" sz="2400" b="0" dirty="0" err="1">
                <a:effectLst/>
              </a:rPr>
              <a:t>qrator</a:t>
            </a:r>
            <a:r>
              <a:rPr lang="en-US" sz="2400" b="0" dirty="0">
                <a:effectLst/>
              </a:rPr>
              <a:t> anti-</a:t>
            </a:r>
            <a:r>
              <a:rPr lang="en-US" sz="2400" b="0" dirty="0" err="1">
                <a:effectLst/>
              </a:rPr>
              <a:t>ddos</a:t>
            </a:r>
            <a:endParaRPr lang="en-US" sz="2400" b="0" dirty="0">
              <a:effectLst/>
            </a:endParaRP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5C0E0629-DC0A-CA3C-0A73-492DD69BE37D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0F4B0464-9B92-AF60-B07F-0B623D22F936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138371A9-05A7-1598-67F4-2074F29871C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F336C9C2-F48E-82C1-ADE3-450F1494E8EA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1E9A5A85-9C45-F642-C556-6AF87A9FDF29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32181513-224F-DFFF-2BB1-EFBC7579AD03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D0B0DB99-E59D-457E-A634-A577833ED8A6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08BBC8D4-8C68-FB38-20FA-1E7C00B60688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675ABA0B-963B-5687-BE97-BCB54A4B1595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388A423C-B8F7-D0CC-6CFB-15DEAC28F597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3F40B68F-D77A-E3AB-4360-517AB8E8C28C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44F194AE-ED0D-6C77-17C9-F1BE7548F478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5BACB0C1-77FA-49A9-1623-887FFA6B2561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42ACF3B5-980D-E174-C2CB-5C9EB6D9EB45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085AAA3F-85C3-1B0B-0CB7-E9BAF9020806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FD03E6F3-5FBA-12C8-1401-C00C428CB7E5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45FBAB9D-76DC-6376-FCE6-01833428A7F0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2FC2970F-F5A8-E11E-8F25-3FF2F817C7F7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F9ECFFD9-8237-8855-E45A-FF38997007F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9FBA91EB-4E97-5149-A1EE-FA7431C53CB0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9D623A72-E00A-B29F-E89F-69D677AE9162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83AA0E23-50EB-7927-910B-A68F98E6CA4F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2672167B-7E1A-43E8-6582-48D73670A4A0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4CFF5C2-BFEE-D9A1-30C7-08D67CA035D9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D13F6CBF-A075-0168-EFE8-6988543F4C49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1CD29A83-4B5C-DCBD-3E86-7B6F9A1BCB6E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F414FB9A-1A6B-B158-5607-5FCB79BF35BC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C4E62D4F-2C3B-E173-D1FA-40768A4C2E31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854B4E2E-3411-8E89-3647-9C5A8B410254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787572EA-E379-C041-C42E-2DC41292FA36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780E720B-968E-FB61-C158-971A39752BC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2B0661F-8905-B175-5046-BAC13C2B55A7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E321374B-3BB9-B109-069C-01BB40524A55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D7813C14-D083-2E31-9065-C1027DC57201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7EC0844D-1FF7-9B1D-8643-64CFA632E8C6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9F02275D-DC77-856B-1671-2852DC36B3C7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E8D9D435-27DD-3E20-8996-500E4ED0B9EB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4DBF5F2-F736-1B27-5954-15BD71446955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9AC14752-E731-9A73-BAD2-B37D68D117A1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6045AD7A-CA78-1A08-EA85-ECBCBE2C1D9D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D2744247-B9B9-2D2F-1C9B-CD2AEE66DB90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B8C2981C-FC07-10E3-1FE9-4F6F670893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41135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9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Верификация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36660048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436218"/>
            <a:ext cx="6793626" cy="60642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Решение предоставляет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Замену продукта вендора с возможностью миграции контента (Архитектура + </a:t>
            </a:r>
            <a:r>
              <a:rPr lang="en-US" sz="1600" b="0" dirty="0" err="1">
                <a:effectLst/>
              </a:rPr>
              <a:t>MigrationTool</a:t>
            </a:r>
            <a:r>
              <a:rPr lang="en-US" sz="1600" b="0" dirty="0">
                <a:effectLst/>
              </a:rPr>
              <a:t>)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Интеграцию с цифровой экосистемой МТС (МТС </a:t>
            </a:r>
            <a:r>
              <a:rPr lang="en-US" sz="1600" b="0" dirty="0">
                <a:effectLst/>
              </a:rPr>
              <a:t>ID, Webinar, </a:t>
            </a:r>
            <a:r>
              <a:rPr lang="ru-RU" sz="1600" b="0" dirty="0">
                <a:effectLst/>
              </a:rPr>
              <a:t>МТС Аналитика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Соответствие </a:t>
            </a:r>
            <a:r>
              <a:rPr lang="ru-RU" sz="1600" b="0" dirty="0" err="1">
                <a:effectLst/>
              </a:rPr>
              <a:t>техностратегии</a:t>
            </a:r>
            <a:r>
              <a:rPr lang="ru-RU" sz="1600" b="0" dirty="0">
                <a:effectLst/>
              </a:rPr>
              <a:t> МТС (учтены </a:t>
            </a:r>
            <a:r>
              <a:rPr lang="en-US" sz="1600" b="0" dirty="0">
                <a:effectLst/>
              </a:rPr>
              <a:t>CN-</a:t>
            </a:r>
            <a:r>
              <a:rPr lang="ru-RU" sz="1600" dirty="0"/>
              <a:t>принципы</a:t>
            </a:r>
            <a:r>
              <a:rPr lang="ru-RU" sz="1600" b="0" dirty="0">
                <a:effectLst/>
              </a:rPr>
              <a:t>, вектор на </a:t>
            </a:r>
            <a:r>
              <a:rPr lang="ru-RU" sz="1600" b="0" dirty="0" err="1">
                <a:effectLst/>
              </a:rPr>
              <a:t>микросервисную</a:t>
            </a:r>
            <a:r>
              <a:rPr lang="ru-RU" sz="1600" b="0" dirty="0">
                <a:effectLst/>
              </a:rPr>
              <a:t> архитектуру с разумным компромиссом на старте)</a:t>
            </a:r>
          </a:p>
          <a:p>
            <a:r>
              <a:rPr lang="ru-RU" sz="1600" b="0" dirty="0">
                <a:effectLst/>
              </a:rPr>
              <a:t>Устранены ограничения вендора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Производительность (за счет </a:t>
            </a:r>
            <a:r>
              <a:rPr lang="en-US" sz="1600" b="0" dirty="0">
                <a:effectLst/>
              </a:rPr>
              <a:t>CDN</a:t>
            </a:r>
            <a:r>
              <a:rPr lang="ru-RU" sz="1600" b="0" dirty="0">
                <a:effectLst/>
              </a:rPr>
              <a:t> </a:t>
            </a:r>
            <a:r>
              <a:rPr lang="ru-RU" sz="1600" dirty="0"/>
              <a:t>и </a:t>
            </a:r>
            <a:r>
              <a:rPr lang="ru-RU" sz="1600" b="0" dirty="0">
                <a:effectLst/>
              </a:rPr>
              <a:t>кеширования контента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Ограниченная функциональность (за счет расширяемости сервисной архитектуры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Сложность модернизации (за счет </a:t>
            </a:r>
            <a:r>
              <a:rPr lang="ru-RU" sz="1600" b="0" dirty="0" err="1">
                <a:effectLst/>
              </a:rPr>
              <a:t>компонентности</a:t>
            </a:r>
            <a:r>
              <a:rPr lang="ru-RU" sz="1600" b="0" dirty="0">
                <a:effectLst/>
              </a:rPr>
              <a:t> сервисной архитектуры)</a:t>
            </a:r>
          </a:p>
          <a:p>
            <a:r>
              <a:rPr lang="ru-RU" sz="1600" dirty="0"/>
              <a:t>Обеспечена </a:t>
            </a:r>
            <a:r>
              <a:rPr lang="ru-RU" sz="1600" b="0" dirty="0">
                <a:effectLst/>
              </a:rPr>
              <a:t>достижимость 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KPI</a:t>
            </a:r>
            <a:r>
              <a:rPr lang="en-US" sz="1600" b="0" dirty="0">
                <a:effectLst/>
              </a:rPr>
              <a:t>: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b="0" dirty="0">
                <a:effectLst/>
              </a:rPr>
              <a:t>10 </a:t>
            </a:r>
            <a:r>
              <a:rPr lang="ru-RU" sz="1600" b="0" dirty="0">
                <a:effectLst/>
              </a:rPr>
              <a:t>млн просмотров новых уроков на сайте в год (за счет архитектуры и мониторинга метрики в </a:t>
            </a:r>
            <a:r>
              <a:rPr lang="ru-RU" sz="1600" b="0" dirty="0">
                <a:solidFill>
                  <a:schemeClr val="accent1"/>
                </a:solidFill>
                <a:effectLst/>
              </a:rPr>
              <a:t>МТС Аналитике</a:t>
            </a:r>
            <a:r>
              <a:rPr lang="ru-RU" sz="1600" b="0" dirty="0">
                <a:effectLst/>
              </a:rPr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10 тыс. выданных сертификатов по итогам обучения в год (за счет поддержки возможности масштабировать кол-во предлагаемых курсов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b="0" dirty="0">
              <a:effectLst/>
            </a:endParaRPr>
          </a:p>
        </p:txBody>
      </p:sp>
      <p:pic>
        <p:nvPicPr>
          <p:cNvPr id="45" name="Рисунок 44" descr="Список, результат">
            <a:extLst>
              <a:ext uri="{FF2B5EF4-FFF2-40B4-BE49-F238E27FC236}">
                <a16:creationId xmlns:a16="http://schemas.microsoft.com/office/drawing/2014/main" id="{5C926F57-F3FF-8B1A-28AC-A5E0CE101AA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8287" y="241927"/>
            <a:ext cx="1638595" cy="1324344"/>
          </a:xfrm>
          <a:prstGeom prst="rect">
            <a:avLst/>
          </a:prstGeom>
        </p:spPr>
      </p:pic>
      <p:pic>
        <p:nvPicPr>
          <p:cNvPr id="47" name="Рисунок 46" descr="Рост, развитие, результат">
            <a:extLst>
              <a:ext uri="{FF2B5EF4-FFF2-40B4-BE49-F238E27FC236}">
                <a16:creationId xmlns:a16="http://schemas.microsoft.com/office/drawing/2014/main" id="{DFBBB5F2-3707-3E32-659B-B3059B72226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15628" y="5192933"/>
            <a:ext cx="1560032" cy="1307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5660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862928" y="493755"/>
            <a:ext cx="11074224" cy="1658565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0F9930B-992A-B054-9B3D-037C6DBF3675}"/>
              </a:ext>
            </a:extLst>
          </p:cNvPr>
          <p:cNvSpPr txBox="1">
            <a:spLocks/>
          </p:cNvSpPr>
          <p:nvPr/>
        </p:nvSpPr>
        <p:spPr>
          <a:xfrm>
            <a:off x="5759669" y="4317883"/>
            <a:ext cx="5917325" cy="240989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r>
              <a:rPr lang="ru-RU" sz="2200" b="1" dirty="0"/>
              <a:t>Команда</a:t>
            </a:r>
            <a:r>
              <a:rPr lang="ru-RU" sz="2200" dirty="0"/>
              <a:t>: </a:t>
            </a:r>
            <a:r>
              <a:rPr lang="en-US" sz="2200" dirty="0" err="1"/>
              <a:t>cupofale</a:t>
            </a:r>
            <a:endParaRPr lang="en-US" sz="2200" dirty="0"/>
          </a:p>
          <a:p>
            <a:endParaRPr lang="ru-RU" sz="2200" b="1" dirty="0"/>
          </a:p>
          <a:p>
            <a:r>
              <a:rPr lang="ru-RU" sz="2200" b="1" dirty="0"/>
              <a:t>Участники</a:t>
            </a:r>
            <a:r>
              <a:rPr lang="ru-RU" sz="22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Алябьев Егор (</a:t>
            </a:r>
            <a:r>
              <a:rPr lang="en-US" sz="1800" dirty="0"/>
              <a:t>edalia10@mts.ru</a:t>
            </a:r>
            <a:r>
              <a:rPr lang="ru-RU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Карпов Илья (</a:t>
            </a:r>
            <a:r>
              <a:rPr lang="en-US" sz="1800" dirty="0" err="1"/>
              <a:t>ibkarpov@mts.ru</a:t>
            </a:r>
            <a:r>
              <a:rPr lang="ru-RU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Сысков Вячеслав (</a:t>
            </a:r>
            <a:r>
              <a:rPr lang="en-US" sz="1800" dirty="0"/>
              <a:t>vvsysko1@mts.ru</a:t>
            </a:r>
            <a:r>
              <a:rPr lang="ru-RU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Юсупов Егор (</a:t>
            </a:r>
            <a:r>
              <a:rPr lang="en-US" sz="1800" dirty="0" err="1"/>
              <a:t>yayusupov@mts.ru</a:t>
            </a:r>
            <a:r>
              <a:rPr lang="ru-RU" sz="1800" dirty="0"/>
              <a:t>)</a:t>
            </a:r>
          </a:p>
          <a:p>
            <a:endParaRPr lang="ru-RU" sz="1800" dirty="0"/>
          </a:p>
          <a:p>
            <a:r>
              <a:rPr lang="ru-RU" sz="1800" dirty="0"/>
              <a:t>Проект: </a:t>
            </a:r>
            <a:r>
              <a:rPr lang="en-US" sz="1200" dirty="0"/>
              <a:t>https://</a:t>
            </a:r>
            <a:r>
              <a:rPr lang="en-US" sz="1200" dirty="0" err="1"/>
              <a:t>github.com</a:t>
            </a:r>
            <a:r>
              <a:rPr lang="en-US" sz="1200" dirty="0"/>
              <a:t>/</a:t>
            </a:r>
            <a:r>
              <a:rPr lang="en-US" sz="1200" dirty="0" err="1"/>
              <a:t>karpoftea</a:t>
            </a:r>
            <a:r>
              <a:rPr lang="en-US" sz="1200" dirty="0"/>
              <a:t>/mts-kata-2023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722307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28" name="Объект 3">
            <a:extLst>
              <a:ext uri="{FF2B5EF4-FFF2-40B4-BE49-F238E27FC236}">
                <a16:creationId xmlns:a16="http://schemas.microsoft.com/office/drawing/2014/main" id="{45B56933-7A84-67AA-72E0-132CE5A565B7}"/>
              </a:ext>
            </a:extLst>
          </p:cNvPr>
          <p:cNvSpPr txBox="1">
            <a:spLocks/>
          </p:cNvSpPr>
          <p:nvPr/>
        </p:nvSpPr>
        <p:spPr>
          <a:xfrm>
            <a:off x="2868795" y="1778876"/>
            <a:ext cx="5796554" cy="30804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Активное развитие образовательных платформ в последние 5 ле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Развитие экосистемы МТС в направлении образовательных платформ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Необходимость привлечения детской и подростковой аудитории в экосистему МТС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i="0" u="none" strike="noStrike" dirty="0">
                <a:effectLst/>
                <a:latin typeface="MTS Text" panose="020B0306020102020303" pitchFamily="34" charset="0"/>
              </a:rPr>
              <a:t>МТС планирует развивать собственную образовательную площадку, привлекать внимание новой аудитории к экосистеме МТС, продвигать свои технологии за счет бесплатных курсов по актуальным и востребованным направлениям</a:t>
            </a:r>
          </a:p>
        </p:txBody>
      </p:sp>
      <p:pic>
        <p:nvPicPr>
          <p:cNvPr id="29" name="Рисунок 28" descr="Календарь, расписание ">
            <a:extLst>
              <a:ext uri="{FF2B5EF4-FFF2-40B4-BE49-F238E27FC236}">
                <a16:creationId xmlns:a16="http://schemas.microsoft.com/office/drawing/2014/main" id="{78C53C5A-7A0E-1711-8336-042315DA007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5896" y="5206165"/>
            <a:ext cx="1644207" cy="1279451"/>
          </a:xfrm>
          <a:prstGeom prst="rect">
            <a:avLst/>
          </a:prstGeom>
        </p:spPr>
      </p:pic>
      <p:pic>
        <p:nvPicPr>
          <p:cNvPr id="32" name="Рисунок 31" descr="График, столбчатая диаграмма, ">
            <a:extLst>
              <a:ext uri="{FF2B5EF4-FFF2-40B4-BE49-F238E27FC236}">
                <a16:creationId xmlns:a16="http://schemas.microsoft.com/office/drawing/2014/main" id="{634FA012-B16B-75CC-6695-FCE916B0E88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4274" y="89385"/>
            <a:ext cx="1705935" cy="136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394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3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Бизнес-цели</a:t>
            </a:r>
          </a:p>
        </p:txBody>
      </p:sp>
    </p:spTree>
    <p:extLst>
      <p:ext uri="{BB962C8B-B14F-4D97-AF65-F5344CB8AC3E}">
        <p14:creationId xmlns:p14="http://schemas.microsoft.com/office/powerpoint/2010/main" val="20839380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28" name="Объект 3">
            <a:extLst>
              <a:ext uri="{FF2B5EF4-FFF2-40B4-BE49-F238E27FC236}">
                <a16:creationId xmlns:a16="http://schemas.microsoft.com/office/drawing/2014/main" id="{45B56933-7A84-67AA-72E0-132CE5A565B7}"/>
              </a:ext>
            </a:extLst>
          </p:cNvPr>
          <p:cNvSpPr txBox="1">
            <a:spLocks/>
          </p:cNvSpPr>
          <p:nvPr/>
        </p:nvSpPr>
        <p:spPr>
          <a:xfrm>
            <a:off x="2784712" y="1248103"/>
            <a:ext cx="5796554" cy="436179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+mj-lt"/>
              <a:buAutoNum type="arabicPeriod"/>
            </a:pPr>
            <a:r>
              <a:rPr lang="ru-RU" sz="1800" b="0" dirty="0">
                <a:effectLst/>
              </a:rPr>
              <a:t>Заменить продукт вендора продуктом МТС: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изменить сайт под обновленный бренд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сделать продукт частью цифровой экосистемы МТС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реализовать продукт в соответствии с </a:t>
            </a:r>
            <a:r>
              <a:rPr lang="ru-RU" sz="1800" b="0" dirty="0" err="1">
                <a:effectLst/>
              </a:rPr>
              <a:t>техностратегией</a:t>
            </a:r>
            <a:r>
              <a:rPr lang="ru-RU" sz="1800" b="0" dirty="0">
                <a:effectLst/>
              </a:rPr>
              <a:t> МТС</a:t>
            </a:r>
          </a:p>
          <a:p>
            <a:pPr marL="342900" indent="-342900" algn="l">
              <a:buFont typeface="+mj-lt"/>
              <a:buAutoNum type="arabicPeriod"/>
            </a:pPr>
            <a:r>
              <a:rPr lang="ru-RU" sz="1800" b="0" dirty="0">
                <a:effectLst/>
              </a:rPr>
              <a:t>Устранить ограничения выявленные в продукте вендора: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производительность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граниченная функциональность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сложность модернизации</a:t>
            </a:r>
          </a:p>
          <a:p>
            <a:pPr marL="342900" indent="-342900" algn="l">
              <a:buFont typeface="+mj-lt"/>
              <a:buAutoNum type="arabicPeriod"/>
            </a:pPr>
            <a:r>
              <a:rPr lang="ru-RU" sz="1800" b="0" dirty="0">
                <a:effectLst/>
              </a:rPr>
              <a:t>Достичь 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KPI</a:t>
            </a:r>
            <a:r>
              <a:rPr lang="en-US" sz="1800" b="0" dirty="0">
                <a:effectLst/>
              </a:rPr>
              <a:t> </a:t>
            </a:r>
            <a:r>
              <a:rPr lang="ru-RU" sz="1800" b="0" dirty="0">
                <a:effectLst/>
              </a:rPr>
              <a:t>продукта: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10 млн просмотров новых уроков на сайте в год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10 тыс. выданных сертификатов по итогам обучения в год</a:t>
            </a:r>
          </a:p>
        </p:txBody>
      </p:sp>
      <p:pic>
        <p:nvPicPr>
          <p:cNvPr id="7" name="Рисунок 6" descr="Презентация, выступление">
            <a:extLst>
              <a:ext uri="{FF2B5EF4-FFF2-40B4-BE49-F238E27FC236}">
                <a16:creationId xmlns:a16="http://schemas.microsoft.com/office/drawing/2014/main" id="{9724FA85-7DAD-82E6-E824-30985D84710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8536" y="445417"/>
            <a:ext cx="1661042" cy="1290675"/>
          </a:xfrm>
          <a:prstGeom prst="rect">
            <a:avLst/>
          </a:prstGeom>
        </p:spPr>
      </p:pic>
      <p:pic>
        <p:nvPicPr>
          <p:cNvPr id="8" name="Рисунок 7" descr="Идея">
            <a:extLst>
              <a:ext uri="{FF2B5EF4-FFF2-40B4-BE49-F238E27FC236}">
                <a16:creationId xmlns:a16="http://schemas.microsoft.com/office/drawing/2014/main" id="{B2C40D98-CA37-7F37-87B2-F33D65EFB5F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11439" y="4939306"/>
            <a:ext cx="1313121" cy="134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6572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4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Системные требования: Заинтересованные стороны</a:t>
            </a:r>
          </a:p>
        </p:txBody>
      </p:sp>
    </p:spTree>
    <p:extLst>
      <p:ext uri="{BB962C8B-B14F-4D97-AF65-F5344CB8AC3E}">
        <p14:creationId xmlns:p14="http://schemas.microsoft.com/office/powerpoint/2010/main" val="34630305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16"/>
          </p:nvPr>
        </p:nvSpPr>
        <p:spPr>
          <a:xfrm>
            <a:off x="2589992" y="3668608"/>
            <a:ext cx="3037738" cy="626838"/>
          </a:xfrm>
        </p:spPr>
        <p:txBody>
          <a:bodyPr/>
          <a:lstStyle/>
          <a:p>
            <a:r>
              <a:rPr lang="ru-RU" dirty="0"/>
              <a:t>Гость</a:t>
            </a:r>
          </a:p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5"/>
          </p:nvPr>
        </p:nvSpPr>
        <p:spPr>
          <a:xfrm>
            <a:off x="1571297" y="4074348"/>
            <a:ext cx="4056433" cy="12543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Доступ на сайт без регистр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Возможность участвовать в открытых воркшопах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Записаться на обучение по любому направлению открытых без регистрац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21"/>
          </p:nvPr>
        </p:nvSpPr>
        <p:spPr>
          <a:xfrm>
            <a:off x="6600310" y="3668608"/>
            <a:ext cx="3037738" cy="626838"/>
          </a:xfrm>
        </p:spPr>
        <p:txBody>
          <a:bodyPr/>
          <a:lstStyle/>
          <a:p>
            <a:r>
              <a:rPr lang="ru-RU" dirty="0"/>
              <a:t>Студент</a:t>
            </a:r>
          </a:p>
          <a:p>
            <a:endParaRPr lang="ru-RU" dirty="0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22"/>
          </p:nvPr>
        </p:nvSpPr>
        <p:spPr>
          <a:xfrm>
            <a:off x="6274489" y="4108642"/>
            <a:ext cx="3510642" cy="9038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Изучение материала с сохранением прогресса и наград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Полный доступ к образовательным курсам платформы</a:t>
            </a:r>
            <a:endParaRPr lang="ru-RU" dirty="0"/>
          </a:p>
        </p:txBody>
      </p:sp>
      <p:pic>
        <p:nvPicPr>
          <p:cNvPr id="32" name="Рисунок 31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C9B24CE2-7080-414C-ECDF-517698422C7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9992" y="1832087"/>
            <a:ext cx="1596913" cy="1596913"/>
          </a:xfrm>
        </p:spPr>
      </p:pic>
      <p:pic>
        <p:nvPicPr>
          <p:cNvPr id="40" name="Рисунок 39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7D22A7A4-8AFB-F3D3-0698-49CD1B02611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6600310" y="1832087"/>
            <a:ext cx="1596913" cy="1596913"/>
          </a:xfrm>
        </p:spPr>
      </p:pic>
      <p:sp>
        <p:nvSpPr>
          <p:cNvPr id="13" name="Стрелка: шеврон 24" descr="красная стрелка">
            <a:extLst>
              <a:ext uri="{FF2B5EF4-FFF2-40B4-BE49-F238E27FC236}">
                <a16:creationId xmlns:a16="http://schemas.microsoft.com/office/drawing/2014/main" id="{A634D91F-1566-0969-9508-129C651B5BAB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" name="Текст 24">
            <a:extLst>
              <a:ext uri="{FF2B5EF4-FFF2-40B4-BE49-F238E27FC236}">
                <a16:creationId xmlns:a16="http://schemas.microsoft.com/office/drawing/2014/main" id="{F227CE85-F4AD-367D-B4AE-21259DA53F0E}"/>
              </a:ext>
            </a:extLst>
          </p:cNvPr>
          <p:cNvSpPr txBox="1">
            <a:spLocks/>
          </p:cNvSpPr>
          <p:nvPr/>
        </p:nvSpPr>
        <p:spPr>
          <a:xfrm>
            <a:off x="4456387" y="503531"/>
            <a:ext cx="4056434" cy="903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Обучающиеся</a:t>
            </a:r>
          </a:p>
          <a:p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572169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Dividers SectionNumber SlideNumber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ики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CD8CC013-EBE6-4178-A022-72C2AB1BD1F2}"/>
    </a:ext>
  </a:extLst>
</a:theme>
</file>

<file path=ppt/theme/theme2.xml><?xml version="1.0" encoding="utf-8"?>
<a:theme xmlns:a="http://schemas.openxmlformats.org/drawingml/2006/main" name="Шмуцтитул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FA03C437-6324-40EF-8EBD-7A829531ED01}"/>
    </a:ext>
  </a:extLst>
</a:theme>
</file>

<file path=ppt/theme/theme3.xml><?xml version="1.0" encoding="utf-8"?>
<a:theme xmlns:a="http://schemas.openxmlformats.org/drawingml/2006/main" name="Контент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4.xml><?xml version="1.0" encoding="utf-8"?>
<a:theme xmlns:a="http://schemas.openxmlformats.org/drawingml/2006/main" name="Слайды со спикером и команд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5.xml><?xml version="1.0" encoding="utf-8"?>
<a:theme xmlns:a="http://schemas.openxmlformats.org/drawingml/2006/main" name="Слайды с цитат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6.xml><?xml version="1.0" encoding="utf-8"?>
<a:theme xmlns:a="http://schemas.openxmlformats.org/drawingml/2006/main" name="Финаль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B9FCBF45-8897-40CD-9AA9-9EF832BB6B29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56</TotalTime>
  <Words>1377</Words>
  <Application>Microsoft Macintosh PowerPoint</Application>
  <PresentationFormat>Широкоэкранный</PresentationFormat>
  <Paragraphs>229</Paragraphs>
  <Slides>4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7</vt:i4>
      </vt:variant>
    </vt:vector>
  </HeadingPairs>
  <TitlesOfParts>
    <vt:vector size="58" baseType="lpstr">
      <vt:lpstr>Arial</vt:lpstr>
      <vt:lpstr>Calibri</vt:lpstr>
      <vt:lpstr>MTS Extended Medium</vt:lpstr>
      <vt:lpstr>MTS Text</vt:lpstr>
      <vt:lpstr>Титульники</vt:lpstr>
      <vt:lpstr>Шмуцтитул</vt:lpstr>
      <vt:lpstr>Контентные слайды</vt:lpstr>
      <vt:lpstr>Слайды со спикером и командой</vt:lpstr>
      <vt:lpstr>Слайды с цитатой</vt:lpstr>
      <vt:lpstr>Финальные слайды</vt:lpstr>
      <vt:lpstr>Слайд think-cell</vt:lpstr>
      <vt:lpstr>Поколение-М</vt:lpstr>
      <vt:lpstr>Бизнес-кейс</vt:lpstr>
      <vt:lpstr>Презентация PowerPoint</vt:lpstr>
      <vt:lpstr>Бизнес-контекст</vt:lpstr>
      <vt:lpstr>Презентация PowerPoint</vt:lpstr>
      <vt:lpstr>Бизнес-цели</vt:lpstr>
      <vt:lpstr>Презентация PowerPoint</vt:lpstr>
      <vt:lpstr>Системные требования: Заинтересованные стороны</vt:lpstr>
      <vt:lpstr>Презентация PowerPoint</vt:lpstr>
      <vt:lpstr>Презентация PowerPoint</vt:lpstr>
      <vt:lpstr>Системные требования: Функциональные требования</vt:lpstr>
      <vt:lpstr>Презентация PowerPoint</vt:lpstr>
      <vt:lpstr>Системные требования: Нефункциональные требования</vt:lpstr>
      <vt:lpstr>Презентация PowerPoint</vt:lpstr>
      <vt:lpstr>Допущения</vt:lpstr>
      <vt:lpstr>Презентация PowerPoint</vt:lpstr>
      <vt:lpstr>Рассчеты (оценки)</vt:lpstr>
      <vt:lpstr>Презентация PowerPoint</vt:lpstr>
      <vt:lpstr>Архитектурный стиль</vt:lpstr>
      <vt:lpstr>Презентация PowerPoint</vt:lpstr>
      <vt:lpstr>Презентация PowerPoint</vt:lpstr>
      <vt:lpstr>Компоненты системы: веб-приложение</vt:lpstr>
      <vt:lpstr>Презентация PowerPoint</vt:lpstr>
      <vt:lpstr>Презентация PowerPoint</vt:lpstr>
      <vt:lpstr>Компоненты системы: Управление курсами и проверкой знаний</vt:lpstr>
      <vt:lpstr>Презентация PowerPoint</vt:lpstr>
      <vt:lpstr>Презентация PowerPoint</vt:lpstr>
      <vt:lpstr>Компоненты системы: API Gateway</vt:lpstr>
      <vt:lpstr>Презентация PowerPoint</vt:lpstr>
      <vt:lpstr>Презентация PowerPoint</vt:lpstr>
      <vt:lpstr>Компоненты системы: File Manager и CDN</vt:lpstr>
      <vt:lpstr>Презентация PowerPoint</vt:lpstr>
      <vt:lpstr>Презентация PowerPoint</vt:lpstr>
      <vt:lpstr>Компоненты системы: Migration Tool</vt:lpstr>
      <vt:lpstr>Презентация PowerPoint</vt:lpstr>
      <vt:lpstr>Презентация PowerPoint</vt:lpstr>
      <vt:lpstr>Интеграция: МТС Аналитика</vt:lpstr>
      <vt:lpstr>Презентация PowerPoint</vt:lpstr>
      <vt:lpstr>Диаграмма контейнеров</vt:lpstr>
      <vt:lpstr>Презентация PowerPoint</vt:lpstr>
      <vt:lpstr>Диаграмма контекста</vt:lpstr>
      <vt:lpstr>Презентация PowerPoint</vt:lpstr>
      <vt:lpstr>Инфраструктура</vt:lpstr>
      <vt:lpstr>Презентация PowerPoint</vt:lpstr>
      <vt:lpstr>Верификация решения</vt:lpstr>
      <vt:lpstr>Презентация PowerPoint</vt:lpstr>
      <vt:lpstr>Спасибо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 презентаций</dc:title>
  <dc:creator>8325</dc:creator>
  <cp:lastModifiedBy>Microsoft Office User</cp:lastModifiedBy>
  <cp:revision>333</cp:revision>
  <dcterms:created xsi:type="dcterms:W3CDTF">2023-03-14T09:22:12Z</dcterms:created>
  <dcterms:modified xsi:type="dcterms:W3CDTF">2023-10-17T07:21:52Z</dcterms:modified>
</cp:coreProperties>
</file>